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charts/chart209.xml" ContentType="application/vnd.openxmlformats-officedocument.drawingml.chart+xml"/>
  <Override PartName="/ppt/charts/chart21.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charts/chart22.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charts/chart23.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xml" ContentType="application/vnd.openxmlformats-officedocument.drawingml.chart+xml"/>
  <Override PartName="/ppt/charts/chart240.xml" ContentType="application/vnd.openxmlformats-officedocument.drawingml.chart+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charts/chart25.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charts/chart259.xml" ContentType="application/vnd.openxmlformats-officedocument.drawingml.chart+xml"/>
  <Override PartName="/ppt/charts/chart26.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xml" ContentType="application/vnd.openxmlformats-officedocument.drawingml.chart+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charts/chart289.xml" ContentType="application/vnd.openxmlformats-officedocument.drawingml.chart+xml"/>
  <Override PartName="/ppt/charts/chart29.xml" ContentType="application/vnd.openxmlformats-officedocument.drawingml.chart+xml"/>
  <Override PartName="/ppt/charts/chart290.xml" ContentType="application/vnd.openxmlformats-officedocument.drawingml.chart+xml"/>
  <Override PartName="/ppt/charts/chart291.xml" ContentType="application/vnd.openxmlformats-officedocument.drawingml.chart+xml"/>
  <Override PartName="/ppt/charts/chart292.xml" ContentType="application/vnd.openxmlformats-officedocument.drawingml.chart+xml"/>
  <Override PartName="/ppt/charts/chart293.xml" ContentType="application/vnd.openxmlformats-officedocument.drawingml.chart+xml"/>
  <Override PartName="/ppt/charts/chart294.xml" ContentType="application/vnd.openxmlformats-officedocument.drawingml.chart+xml"/>
  <Override PartName="/ppt/charts/chart295.xml" ContentType="application/vnd.openxmlformats-officedocument.drawingml.chart+xml"/>
  <Override PartName="/ppt/charts/chart296.xml" ContentType="application/vnd.openxmlformats-officedocument.drawingml.chart+xml"/>
  <Override PartName="/ppt/charts/chart297.xml" ContentType="application/vnd.openxmlformats-officedocument.drawingml.chart+xml"/>
  <Override PartName="/ppt/charts/chart298.xml" ContentType="application/vnd.openxmlformats-officedocument.drawingml.chart+xml"/>
  <Override PartName="/ppt/charts/chart29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00.xml" ContentType="application/vnd.openxmlformats-officedocument.drawingml.chart+xml"/>
  <Override PartName="/ppt/charts/chart301.xml" ContentType="application/vnd.openxmlformats-officedocument.drawingml.chart+xml"/>
  <Override PartName="/ppt/charts/chart302.xml" ContentType="application/vnd.openxmlformats-officedocument.drawingml.chart+xml"/>
  <Override PartName="/ppt/charts/chart303.xml" ContentType="application/vnd.openxmlformats-officedocument.drawingml.chart+xml"/>
  <Override PartName="/ppt/charts/chart304.xml" ContentType="application/vnd.openxmlformats-officedocument.drawingml.chart+xml"/>
  <Override PartName="/ppt/charts/chart305.xml" ContentType="application/vnd.openxmlformats-officedocument.drawingml.chart+xml"/>
  <Override PartName="/ppt/charts/chart306.xml" ContentType="application/vnd.openxmlformats-officedocument.drawingml.chart+xml"/>
  <Override PartName="/ppt/charts/chart307.xml" ContentType="application/vnd.openxmlformats-officedocument.drawingml.chart+xml"/>
  <Override PartName="/ppt/charts/chart308.xml" ContentType="application/vnd.openxmlformats-officedocument.drawingml.chart+xml"/>
  <Override PartName="/ppt/charts/chart309.xml" ContentType="application/vnd.openxmlformats-officedocument.drawingml.chart+xml"/>
  <Override PartName="/ppt/charts/chart31.xml" ContentType="application/vnd.openxmlformats-officedocument.drawingml.chart+xml"/>
  <Override PartName="/ppt/charts/chart310.xml" ContentType="application/vnd.openxmlformats-officedocument.drawingml.chart+xml"/>
  <Override PartName="/ppt/charts/chart311.xml" ContentType="application/vnd.openxmlformats-officedocument.drawingml.chart+xml"/>
  <Override PartName="/ppt/charts/chart312.xml" ContentType="application/vnd.openxmlformats-officedocument.drawingml.chart+xml"/>
  <Override PartName="/ppt/charts/chart313.xml" ContentType="application/vnd.openxmlformats-officedocument.drawingml.chart+xml"/>
  <Override PartName="/ppt/charts/chart314.xml" ContentType="application/vnd.openxmlformats-officedocument.drawingml.chart+xml"/>
  <Override PartName="/ppt/charts/chart315.xml" ContentType="application/vnd.openxmlformats-officedocument.drawingml.chart+xml"/>
  <Override PartName="/ppt/charts/chart316.xml" ContentType="application/vnd.openxmlformats-officedocument.drawingml.chart+xml"/>
  <Override PartName="/ppt/charts/chart317.xml" ContentType="application/vnd.openxmlformats-officedocument.drawingml.chart+xml"/>
  <Override PartName="/ppt/charts/chart318.xml" ContentType="application/vnd.openxmlformats-officedocument.drawingml.chart+xml"/>
  <Override PartName="/ppt/charts/chart319.xml" ContentType="application/vnd.openxmlformats-officedocument.drawingml.chart+xml"/>
  <Override PartName="/ppt/charts/chart32.xml" ContentType="application/vnd.openxmlformats-officedocument.drawingml.chart+xml"/>
  <Override PartName="/ppt/charts/chart320.xml" ContentType="application/vnd.openxmlformats-officedocument.drawingml.chart+xml"/>
  <Override PartName="/ppt/charts/chart321.xml" ContentType="application/vnd.openxmlformats-officedocument.drawingml.chart+xml"/>
  <Override PartName="/ppt/charts/chart322.xml" ContentType="application/vnd.openxmlformats-officedocument.drawingml.chart+xml"/>
  <Override PartName="/ppt/charts/chart323.xml" ContentType="application/vnd.openxmlformats-officedocument.drawingml.chart+xml"/>
  <Override PartName="/ppt/charts/chart324.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32"/>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 id="2147475198" r:id="rId30"/>
    <p:sldId id="2147475199" r:id="rId31"/>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ckets BY RETAILER" id="{84738860-B9AD-4A26-8D00-BE287CD7695C}">
          <p14:sldIdLst>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85" d="100"/>
          <a:sy n="85" d="100"/>
        </p:scale>
        <p:origin x="444" y="84"/>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notesMaster" Target="notesMasters/notesMaster1.xml"/><Relationship Id="rId33" Type="http://schemas.openxmlformats.org/officeDocument/2006/relationships/presProps" Target="presProps.xml"/><Relationship Id="rId34" Type="http://schemas.openxmlformats.org/officeDocument/2006/relationships/viewProps" Target="viewProps.xml"/><Relationship Id="rId35" Type="http://schemas.openxmlformats.org/officeDocument/2006/relationships/theme" Target="theme/theme1.xml"/><Relationship Id="rId36" Type="http://schemas.openxmlformats.org/officeDocument/2006/relationships/tableStyles" Target="tableStyles.xml"/><Relationship Id="rId37" Type="http://schemas.microsoft.com/office/2015/10/relationships/revisionInfo" Target="revisionInfo.xml"/><Relationship Id="rId38" Type="http://schemas.microsoft.com/office/2018/10/relationships/authors" Targe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package" Target="../embeddings/Microsoft_Excel_Worksheet296.xlsx"/></Relationships>
</file>

<file path=ppt/charts/_rels/chart298.xml.rels><?xml version='1.0' encoding='UTF-8' standalone='yes'?>
<Relationships xmlns="http://schemas.openxmlformats.org/package/2006/relationships"><Relationship Id="rId1" Type="http://schemas.openxmlformats.org/officeDocument/2006/relationships/package" Target="../embeddings/Microsoft_Excel_Worksheet297.xlsx"/></Relationships>
</file>

<file path=ppt/charts/_rels/chart299.xml.rels><?xml version='1.0' encoding='UTF-8' standalone='yes'?>
<Relationships xmlns="http://schemas.openxmlformats.org/package/2006/relationships"><Relationship Id="rId1" Type="http://schemas.openxmlformats.org/officeDocument/2006/relationships/package" Target="../embeddings/Microsoft_Excel_Worksheet29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00.xml.rels><?xml version='1.0' encoding='UTF-8' standalone='yes'?>
<Relationships xmlns="http://schemas.openxmlformats.org/package/2006/relationships"><Relationship Id="rId1" Type="http://schemas.openxmlformats.org/officeDocument/2006/relationships/package" Target="../embeddings/Microsoft_Excel_Worksheet299.xlsx"/></Relationships>
</file>

<file path=ppt/charts/_rels/chart301.xml.rels><?xml version='1.0' encoding='UTF-8' standalone='yes'?>
<Relationships xmlns="http://schemas.openxmlformats.org/package/2006/relationships"><Relationship Id="rId1" Type="http://schemas.openxmlformats.org/officeDocument/2006/relationships/package" Target="../embeddings/Microsoft_Excel_Worksheet300.xlsx"/></Relationships>
</file>

<file path=ppt/charts/_rels/chart302.xml.rels><?xml version='1.0' encoding='UTF-8' standalone='yes'?>
<Relationships xmlns="http://schemas.openxmlformats.org/package/2006/relationships"><Relationship Id="rId1" Type="http://schemas.openxmlformats.org/officeDocument/2006/relationships/package" Target="../embeddings/Microsoft_Excel_Worksheet301.xlsx"/></Relationships>
</file>

<file path=ppt/charts/_rels/chart303.xml.rels><?xml version='1.0' encoding='UTF-8' standalone='yes'?>
<Relationships xmlns="http://schemas.openxmlformats.org/package/2006/relationships"><Relationship Id="rId1" Type="http://schemas.openxmlformats.org/officeDocument/2006/relationships/package" Target="../embeddings/Microsoft_Excel_Worksheet302.xlsx"/></Relationships>
</file>

<file path=ppt/charts/_rels/chart304.xml.rels><?xml version='1.0' encoding='UTF-8' standalone='yes'?>
<Relationships xmlns="http://schemas.openxmlformats.org/package/2006/relationships"><Relationship Id="rId1" Type="http://schemas.openxmlformats.org/officeDocument/2006/relationships/package" Target="../embeddings/Microsoft_Excel_Worksheet303.xlsx"/></Relationships>
</file>

<file path=ppt/charts/_rels/chart305.xml.rels><?xml version='1.0' encoding='UTF-8' standalone='yes'?>
<Relationships xmlns="http://schemas.openxmlformats.org/package/2006/relationships"><Relationship Id="rId1" Type="http://schemas.openxmlformats.org/officeDocument/2006/relationships/package" Target="../embeddings/Microsoft_Excel_Worksheet304.xlsx"/></Relationships>
</file>

<file path=ppt/charts/_rels/chart306.xml.rels><?xml version='1.0' encoding='UTF-8' standalone='yes'?>
<Relationships xmlns="http://schemas.openxmlformats.org/package/2006/relationships"><Relationship Id="rId1" Type="http://schemas.openxmlformats.org/officeDocument/2006/relationships/package" Target="../embeddings/Microsoft_Excel_Worksheet305.xlsx"/></Relationships>
</file>

<file path=ppt/charts/_rels/chart307.xml.rels><?xml version='1.0' encoding='UTF-8' standalone='yes'?>
<Relationships xmlns="http://schemas.openxmlformats.org/package/2006/relationships"><Relationship Id="rId1" Type="http://schemas.openxmlformats.org/officeDocument/2006/relationships/package" Target="../embeddings/Microsoft_Excel_Worksheet306.xlsx"/></Relationships>
</file>

<file path=ppt/charts/_rels/chart308.xml.rels><?xml version='1.0' encoding='UTF-8' standalone='yes'?>
<Relationships xmlns="http://schemas.openxmlformats.org/package/2006/relationships"><Relationship Id="rId1" Type="http://schemas.openxmlformats.org/officeDocument/2006/relationships/package" Target="../embeddings/Microsoft_Excel_Worksheet307.xlsx"/></Relationships>
</file>

<file path=ppt/charts/_rels/chart309.xml.rels><?xml version='1.0' encoding='UTF-8' standalone='yes'?>
<Relationships xmlns="http://schemas.openxmlformats.org/package/2006/relationships"><Relationship Id="rId1" Type="http://schemas.openxmlformats.org/officeDocument/2006/relationships/package" Target="../embeddings/Microsoft_Excel_Worksheet308.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10.xml.rels><?xml version='1.0' encoding='UTF-8' standalone='yes'?>
<Relationships xmlns="http://schemas.openxmlformats.org/package/2006/relationships"><Relationship Id="rId1" Type="http://schemas.openxmlformats.org/officeDocument/2006/relationships/package" Target="../embeddings/Microsoft_Excel_Worksheet309.xlsx"/></Relationships>
</file>

<file path=ppt/charts/_rels/chart311.xml.rels><?xml version='1.0' encoding='UTF-8' standalone='yes'?>
<Relationships xmlns="http://schemas.openxmlformats.org/package/2006/relationships"><Relationship Id="rId1" Type="http://schemas.openxmlformats.org/officeDocument/2006/relationships/package" Target="../embeddings/Microsoft_Excel_Worksheet310.xlsx"/></Relationships>
</file>

<file path=ppt/charts/_rels/chart312.xml.rels><?xml version='1.0' encoding='UTF-8' standalone='yes'?>
<Relationships xmlns="http://schemas.openxmlformats.org/package/2006/relationships"><Relationship Id="rId1" Type="http://schemas.openxmlformats.org/officeDocument/2006/relationships/package" Target="../embeddings/Microsoft_Excel_Worksheet311.xlsx"/></Relationships>
</file>

<file path=ppt/charts/_rels/chart313.xml.rels><?xml version='1.0' encoding='UTF-8' standalone='yes'?>
<Relationships xmlns="http://schemas.openxmlformats.org/package/2006/relationships"><Relationship Id="rId1" Type="http://schemas.openxmlformats.org/officeDocument/2006/relationships/package" Target="../embeddings/Microsoft_Excel_Worksheet312.xlsx"/></Relationships>
</file>

<file path=ppt/charts/_rels/chart314.xml.rels><?xml version='1.0' encoding='UTF-8' standalone='yes'?>
<Relationships xmlns="http://schemas.openxmlformats.org/package/2006/relationships"><Relationship Id="rId1" Type="http://schemas.openxmlformats.org/officeDocument/2006/relationships/package" Target="../embeddings/Microsoft_Excel_Worksheet313.xlsx"/></Relationships>
</file>

<file path=ppt/charts/_rels/chart315.xml.rels><?xml version='1.0' encoding='UTF-8' standalone='yes'?>
<Relationships xmlns="http://schemas.openxmlformats.org/package/2006/relationships"><Relationship Id="rId1" Type="http://schemas.openxmlformats.org/officeDocument/2006/relationships/package" Target="../embeddings/Microsoft_Excel_Worksheet314.xlsx"/></Relationships>
</file>

<file path=ppt/charts/_rels/chart316.xml.rels><?xml version='1.0' encoding='UTF-8' standalone='yes'?>
<Relationships xmlns="http://schemas.openxmlformats.org/package/2006/relationships"><Relationship Id="rId1" Type="http://schemas.openxmlformats.org/officeDocument/2006/relationships/package" Target="../embeddings/Microsoft_Excel_Worksheet315.xlsx"/></Relationships>
</file>

<file path=ppt/charts/_rels/chart317.xml.rels><?xml version='1.0' encoding='UTF-8' standalone='yes'?>
<Relationships xmlns="http://schemas.openxmlformats.org/package/2006/relationships"><Relationship Id="rId1" Type="http://schemas.openxmlformats.org/officeDocument/2006/relationships/package" Target="../embeddings/Microsoft_Excel_Worksheet316.xlsx"/></Relationships>
</file>

<file path=ppt/charts/_rels/chart318.xml.rels><?xml version='1.0' encoding='UTF-8' standalone='yes'?>
<Relationships xmlns="http://schemas.openxmlformats.org/package/2006/relationships"><Relationship Id="rId1" Type="http://schemas.openxmlformats.org/officeDocument/2006/relationships/package" Target="../embeddings/Microsoft_Excel_Worksheet317.xlsx"/></Relationships>
</file>

<file path=ppt/charts/_rels/chart319.xml.rels><?xml version='1.0' encoding='UTF-8' standalone='yes'?>
<Relationships xmlns="http://schemas.openxmlformats.org/package/2006/relationships"><Relationship Id="rId1" Type="http://schemas.openxmlformats.org/officeDocument/2006/relationships/package" Target="../embeddings/Microsoft_Excel_Worksheet318.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20.xml.rels><?xml version='1.0' encoding='UTF-8' standalone='yes'?>
<Relationships xmlns="http://schemas.openxmlformats.org/package/2006/relationships"><Relationship Id="rId1" Type="http://schemas.openxmlformats.org/officeDocument/2006/relationships/package" Target="../embeddings/Microsoft_Excel_Worksheet319.xlsx"/></Relationships>
</file>

<file path=ppt/charts/_rels/chart321.xml.rels><?xml version='1.0' encoding='UTF-8' standalone='yes'?>
<Relationships xmlns="http://schemas.openxmlformats.org/package/2006/relationships"><Relationship Id="rId1" Type="http://schemas.openxmlformats.org/officeDocument/2006/relationships/package" Target="../embeddings/Microsoft_Excel_Worksheet320.xlsx"/></Relationships>
</file>

<file path=ppt/charts/_rels/chart322.xml.rels><?xml version='1.0' encoding='UTF-8' standalone='yes'?>
<Relationships xmlns="http://schemas.openxmlformats.org/package/2006/relationships"><Relationship Id="rId1" Type="http://schemas.openxmlformats.org/officeDocument/2006/relationships/package" Target="../embeddings/Microsoft_Excel_Worksheet321.xlsx"/></Relationships>
</file>

<file path=ppt/charts/_rels/chart323.xml.rels><?xml version='1.0' encoding='UTF-8' standalone='yes'?>
<Relationships xmlns="http://schemas.openxmlformats.org/package/2006/relationships"><Relationship Id="rId1" Type="http://schemas.openxmlformats.org/officeDocument/2006/relationships/package" Target="../embeddings/Microsoft_Excel_Worksheet322.xlsx"/></Relationships>
</file>

<file path=ppt/charts/_rels/chart324.xml.rels><?xml version='1.0' encoding='UTF-8' standalone='yes'?>
<Relationships xmlns="http://schemas.openxmlformats.org/package/2006/relationships"><Relationship Id="rId1" Type="http://schemas.openxmlformats.org/officeDocument/2006/relationships/package" Target="../embeddings/Microsoft_Excel_Worksheet323.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4.486836343533805e-06</c:v>
                </c:pt>
                <c:pt idx="1">
                  <c:v/>
                </c:pt>
                <c:pt idx="2">
                  <c:v>2.945278747458069e-06</c:v>
                </c:pt>
                <c:pt idx="3">
                  <c:v>0.017277765183550575</c:v>
                </c:pt>
                <c:pt idx="4">
                  <c:v>0.0007963156001049562</c:v>
                </c:pt>
                <c:pt idx="5">
                  <c:v>0.017338508794486285</c:v>
                </c:pt>
                <c:pt idx="6">
                  <c:v>0.000142085318118266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0.01852628303944447</c:v>
                </c:pt>
                <c:pt idx="4">
                  <c:v>0.06857874750025944</c:v>
                </c:pt>
                <c:pt idx="5">
                  <c:v>0.01525140965576692</c:v>
                </c:pt>
                <c:pt idx="6">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
                </c:pt>
                <c:pt idx="4">
                  <c:v/>
                </c:pt>
                <c:pt idx="5">
                  <c:v/>
                </c:pt>
                <c:pt idx="6">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0.01525140965576692</c:v>
                </c:pt>
                <c:pt idx="2">
                  <c:v>0.06857874750025944</c:v>
                </c:pt>
                <c:pt idx="3">
                  <c:v>0.01852628303944447</c:v>
                </c:pt>
                <c:pt idx="4">
                  <c:v/>
                </c:pt>
                <c:pt idx="5">
                  <c:v/>
                </c:pt>
                <c:pt idx="6">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2.659593210673726e-05</c:v>
                </c:pt>
                <c:pt idx="1">
                  <c:v>0.0018797458148500864</c:v>
                </c:pt>
                <c:pt idx="2">
                  <c:v>0.0002409641122004238</c:v>
                </c:pt>
                <c:pt idx="3">
                  <c:v>0.007238056330817469</c:v>
                </c:pt>
                <c:pt idx="4">
                  <c:v>0.008420148182227173</c:v>
                </c:pt>
                <c:pt idx="5">
                  <c:v>0.00030421608636078983</c:v>
                </c:pt>
                <c:pt idx="6">
                  <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1.4877245075701976e-07</c:v>
                </c:pt>
                <c:pt idx="1">
                  <c:v/>
                </c:pt>
                <c:pt idx="2">
                  <c:v/>
                </c:pt>
                <c:pt idx="3">
                  <c:v/>
                </c:pt>
                <c:pt idx="4">
                  <c:v/>
                </c:pt>
                <c:pt idx="5">
                  <c:v/>
                </c:pt>
                <c:pt idx="6">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011265788422587115</c:v>
                </c:pt>
                <c:pt idx="1">
                  <c:v>0.007963701676534166</c:v>
                </c:pt>
                <c:pt idx="2">
                  <c:v>0.0010201826372318965</c:v>
                </c:pt>
                <c:pt idx="3">
                  <c:v>0.03066627222587233</c:v>
                </c:pt>
                <c:pt idx="4">
                  <c:v>0.035662555039106446</c:v>
                </c:pt>
                <c:pt idx="5">
                  <c:v>0.0012862475296222399</c:v>
                </c:pt>
                <c:pt idx="6">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8.765991781950135e-07</c:v>
                </c:pt>
                <c:pt idx="1">
                  <c:v/>
                </c:pt>
                <c:pt idx="2">
                  <c:v/>
                </c:pt>
                <c:pt idx="3">
                  <c:v/>
                </c:pt>
                <c:pt idx="4">
                  <c:v/>
                </c:pt>
                <c:pt idx="5">
                  <c:v/>
                </c:pt>
                <c:pt idx="6">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
                </c:pt>
                <c:pt idx="4">
                  <c:v/>
                </c:pt>
                <c:pt idx="5">
                  <c:v/>
                </c:pt>
                <c:pt idx="6">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
                </c:pt>
                <c:pt idx="4">
                  <c:v/>
                </c:pt>
                <c:pt idx="5">
                  <c:v/>
                </c:pt>
                <c:pt idx="6">
                  <c:v>8.765991781950135e-07</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2.659593210673726e-05</c:v>
                </c:pt>
                <c:pt idx="1">
                  <c:v>0.0018797458148500864</c:v>
                </c:pt>
                <c:pt idx="2">
                  <c:v>0.0002409641122004238</c:v>
                </c:pt>
                <c:pt idx="3">
                  <c:v>0.007238056330817469</c:v>
                </c:pt>
                <c:pt idx="4">
                  <c:v>0.008420148182227173</c:v>
                </c:pt>
                <c:pt idx="5">
                  <c:v>0.00030421608636078983</c:v>
                </c:pt>
                <c:pt idx="6">
                  <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
                </c:pt>
                <c:pt idx="4">
                  <c:v>0.0024146627060464827</c:v>
                </c:pt>
                <c:pt idx="5">
                  <c:v>0.004786084127078704</c:v>
                </c:pt>
                <c:pt idx="6">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011265788422587115</c:v>
                </c:pt>
                <c:pt idx="1">
                  <c:v>0.007963701676534166</c:v>
                </c:pt>
                <c:pt idx="2">
                  <c:v>0.0010201826372318965</c:v>
                </c:pt>
                <c:pt idx="3">
                  <c:v>0.03066627222587233</c:v>
                </c:pt>
                <c:pt idx="4">
                  <c:v>0.035662555039106446</c:v>
                </c:pt>
                <c:pt idx="5">
                  <c:v>0.0012862475296222399</c:v>
                </c:pt>
                <c:pt idx="6">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
                </c:pt>
                <c:pt idx="4">
                  <c:v>0.004784849183471466</c:v>
                </c:pt>
                <c:pt idx="5">
                  <c:v>0.005561246332528188</c:v>
                </c:pt>
                <c:pt idx="6">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
                </c:pt>
                <c:pt idx="4">
                  <c:v/>
                </c:pt>
                <c:pt idx="5">
                  <c:v/>
                </c:pt>
                <c:pt idx="6">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0.005561246332528188</c:v>
                </c:pt>
                <c:pt idx="2">
                  <c:v>0.004784849183471466</c:v>
                </c:pt>
                <c:pt idx="3">
                  <c:v/>
                </c:pt>
                <c:pt idx="4">
                  <c:v/>
                </c:pt>
                <c:pt idx="5">
                  <c:v/>
                </c:pt>
                <c:pt idx="6">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4.486836343533805e-06</c:v>
                </c:pt>
                <c:pt idx="1">
                  <c:v/>
                </c:pt>
                <c:pt idx="2">
                  <c:v>2.945278747458069e-06</c:v>
                </c:pt>
                <c:pt idx="3">
                  <c:v>0.017277765183550575</c:v>
                </c:pt>
                <c:pt idx="4">
                  <c:v>0.0007963156001049562</c:v>
                </c:pt>
                <c:pt idx="5">
                  <c:v>0.017338508794486285</c:v>
                </c:pt>
                <c:pt idx="6">
                  <c:v>0.000142085318118266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2.659593210673726e-05</c:v>
                </c:pt>
                <c:pt idx="1">
                  <c:v>0.0018797458148500864</c:v>
                </c:pt>
                <c:pt idx="2">
                  <c:v>0.0002409641122004238</c:v>
                </c:pt>
                <c:pt idx="3">
                  <c:v>0.007238056330817469</c:v>
                </c:pt>
                <c:pt idx="4">
                  <c:v>0.008420148182227173</c:v>
                </c:pt>
                <c:pt idx="5">
                  <c:v>0.00030421608636078983</c:v>
                </c:pt>
                <c:pt idx="6">
                  <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0.018781125735843562</c:v>
                </c:pt>
                <c:pt idx="4">
                  <c:v>0.06019637768951337</c:v>
                </c:pt>
                <c:pt idx="5">
                  <c:v>0.014280907872894471</c:v>
                </c:pt>
                <c:pt idx="6">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011265788422587115</c:v>
                </c:pt>
                <c:pt idx="1">
                  <c:v>0.007963701676534166</c:v>
                </c:pt>
                <c:pt idx="2">
                  <c:v>0.0010201826372318965</c:v>
                </c:pt>
                <c:pt idx="3">
                  <c:v>0.03066627222587233</c:v>
                </c:pt>
                <c:pt idx="4">
                  <c:v>0.035662555039106446</c:v>
                </c:pt>
                <c:pt idx="5">
                  <c:v>0.0012862475296222399</c:v>
                </c:pt>
                <c:pt idx="6">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0.03408651215058535</c:v>
                </c:pt>
                <c:pt idx="4">
                  <c:v>0.07856944198383985</c:v>
                </c:pt>
                <c:pt idx="5">
                  <c:v>0.022142954376562933</c:v>
                </c:pt>
                <c:pt idx="6">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14685896170947494</c:v>
                </c:pt>
                <c:pt idx="1">
                  <c:v>0.10381350294445126</c:v>
                </c:pt>
                <c:pt idx="2">
                  <c:v>0.013298932772208446</c:v>
                </c:pt>
                <c:pt idx="3">
                  <c:v>0.39976047211771554</c:v>
                </c:pt>
                <c:pt idx="4">
                  <c:v>0.46489119167635223</c:v>
                </c:pt>
                <c:pt idx="5">
                  <c:v>0.016767310872177758</c:v>
                </c:pt>
                <c:pt idx="6">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0.022142954376562933</c:v>
                </c:pt>
                <c:pt idx="2">
                  <c:v>0.07856944198383985</c:v>
                </c:pt>
                <c:pt idx="3">
                  <c:v>0.03408651215058535</c:v>
                </c:pt>
                <c:pt idx="4">
                  <c:v/>
                </c:pt>
                <c:pt idx="5">
                  <c:v/>
                </c:pt>
                <c:pt idx="6">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
                </c:pt>
                <c:pt idx="4">
                  <c:v/>
                </c:pt>
                <c:pt idx="5">
                  <c:v>0.08824407089686304</c:v>
                </c:pt>
                <c:pt idx="6">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2.659593210673726e-05</c:v>
                </c:pt>
                <c:pt idx="1">
                  <c:v>0.0018797458148500864</c:v>
                </c:pt>
                <c:pt idx="2">
                  <c:v>0.0002409641122004238</c:v>
                </c:pt>
                <c:pt idx="3">
                  <c:v>0.007238056330817469</c:v>
                </c:pt>
                <c:pt idx="4">
                  <c:v>0.008420148182227173</c:v>
                </c:pt>
                <c:pt idx="5">
                  <c:v>0.00030421608636078983</c:v>
                </c:pt>
                <c:pt idx="6">
                  <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
                </c:pt>
                <c:pt idx="4">
                  <c:v>0.0024146627060464827</c:v>
                </c:pt>
                <c:pt idx="5">
                  <c:v>0.004786084127078704</c:v>
                </c:pt>
                <c:pt idx="6">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011265788422587115</c:v>
                </c:pt>
                <c:pt idx="1">
                  <c:v>0.007963701676534166</c:v>
                </c:pt>
                <c:pt idx="2">
                  <c:v>0.0010201826372318965</c:v>
                </c:pt>
                <c:pt idx="3">
                  <c:v>0.03066627222587233</c:v>
                </c:pt>
                <c:pt idx="4">
                  <c:v>0.035662555039106446</c:v>
                </c:pt>
                <c:pt idx="5">
                  <c:v>0.0012862475296222399</c:v>
                </c:pt>
                <c:pt idx="6">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
                </c:pt>
                <c:pt idx="4">
                  <c:v>2.8717668286993418e-05</c:v>
                </c:pt>
                <c:pt idx="5">
                  <c:v>0.006737071715712027</c:v>
                </c:pt>
                <c:pt idx="6">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14685896170947494</c:v>
                </c:pt>
                <c:pt idx="1">
                  <c:v>0.10381350294445126</c:v>
                </c:pt>
                <c:pt idx="2">
                  <c:v>0.013298932772208446</c:v>
                </c:pt>
                <c:pt idx="3">
                  <c:v>0.39976047211771554</c:v>
                </c:pt>
                <c:pt idx="4">
                  <c:v>0.46489119167635223</c:v>
                </c:pt>
                <c:pt idx="5">
                  <c:v>0.016767310872177758</c:v>
                </c:pt>
                <c:pt idx="6">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011265788422587115</c:v>
                </c:pt>
                <c:pt idx="1">
                  <c:v>0.007963701676534166</c:v>
                </c:pt>
                <c:pt idx="2">
                  <c:v>0.0010201826372318965</c:v>
                </c:pt>
                <c:pt idx="3">
                  <c:v>0.03066627222587233</c:v>
                </c:pt>
                <c:pt idx="4">
                  <c:v>0.035662555039106446</c:v>
                </c:pt>
                <c:pt idx="5">
                  <c:v>0.0012862475296222399</c:v>
                </c:pt>
                <c:pt idx="6">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0.006737071715712027</c:v>
                </c:pt>
                <c:pt idx="2">
                  <c:v>2.8717668286993418e-05</c:v>
                </c:pt>
                <c:pt idx="3">
                  <c:v/>
                </c:pt>
                <c:pt idx="4">
                  <c:v/>
                </c:pt>
                <c:pt idx="5">
                  <c:v/>
                </c:pt>
                <c:pt idx="6">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2.659593210673726e-05</c:v>
                </c:pt>
                <c:pt idx="1">
                  <c:v>0.0018797458148500864</c:v>
                </c:pt>
                <c:pt idx="2">
                  <c:v>0.0002409641122004238</c:v>
                </c:pt>
                <c:pt idx="3">
                  <c:v>0.007238056330817469</c:v>
                </c:pt>
                <c:pt idx="4">
                  <c:v>0.008420148182227173</c:v>
                </c:pt>
                <c:pt idx="5">
                  <c:v>0.00030421608636078983</c:v>
                </c:pt>
                <c:pt idx="6">
                  <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
                </c:pt>
                <c:pt idx="4">
                  <c:v/>
                </c:pt>
                <c:pt idx="5">
                  <c:v>0.010495589308745433</c:v>
                </c:pt>
                <c:pt idx="6">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011265788422587115</c:v>
                </c:pt>
                <c:pt idx="1">
                  <c:v>0.007963701676534166</c:v>
                </c:pt>
                <c:pt idx="2">
                  <c:v>0.0010201826372318965</c:v>
                </c:pt>
                <c:pt idx="3">
                  <c:v>0.03066627222587233</c:v>
                </c:pt>
                <c:pt idx="4">
                  <c:v>0.035662555039106446</c:v>
                </c:pt>
                <c:pt idx="5">
                  <c:v>0.0012862475296222399</c:v>
                </c:pt>
                <c:pt idx="6">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
                </c:pt>
                <c:pt idx="4">
                  <c:v/>
                </c:pt>
                <c:pt idx="5">
                  <c:v>0.11763361387768397</c:v>
                </c:pt>
                <c:pt idx="6">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
                </c:pt>
                <c:pt idx="4">
                  <c:v/>
                </c:pt>
                <c:pt idx="5">
                  <c:v>0.016144620862610648</c:v>
                </c:pt>
                <c:pt idx="6">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
                </c:pt>
                <c:pt idx="4">
                  <c:v/>
                </c:pt>
                <c:pt idx="5">
                  <c:v/>
                </c:pt>
                <c:pt idx="6">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0.016144620862610648</c:v>
                </c:pt>
                <c:pt idx="2">
                  <c:v/>
                </c:pt>
                <c:pt idx="3">
                  <c:v/>
                </c:pt>
                <c:pt idx="4">
                  <c:v/>
                </c:pt>
                <c:pt idx="5">
                  <c:v/>
                </c:pt>
                <c:pt idx="6">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2.659593210673726e-05</c:v>
                </c:pt>
                <c:pt idx="1">
                  <c:v>0.0018797458148500864</c:v>
                </c:pt>
                <c:pt idx="2">
                  <c:v>0.0002409641122004238</c:v>
                </c:pt>
                <c:pt idx="3">
                  <c:v>0.007238056330817469</c:v>
                </c:pt>
                <c:pt idx="4">
                  <c:v>0.008420148182227173</c:v>
                </c:pt>
                <c:pt idx="5">
                  <c:v>0.00030421608636078983</c:v>
                </c:pt>
                <c:pt idx="6">
                  <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14685896170947494</c:v>
                </c:pt>
                <c:pt idx="1">
                  <c:v>0.10381350294445126</c:v>
                </c:pt>
                <c:pt idx="2">
                  <c:v>0.013298932772208446</c:v>
                </c:pt>
                <c:pt idx="3">
                  <c:v>0.39976047211771554</c:v>
                </c:pt>
                <c:pt idx="4">
                  <c:v>0.46489119167635223</c:v>
                </c:pt>
                <c:pt idx="5">
                  <c:v>0.016767310872177758</c:v>
                </c:pt>
                <c:pt idx="6">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
                </c:pt>
                <c:pt idx="4">
                  <c:v/>
                </c:pt>
                <c:pt idx="5">
                  <c:v>0.010495589308745433</c:v>
                </c:pt>
                <c:pt idx="6">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011265788422587115</c:v>
                </c:pt>
                <c:pt idx="1">
                  <c:v>0.007963701676534166</c:v>
                </c:pt>
                <c:pt idx="2">
                  <c:v>0.0010201826372318965</c:v>
                </c:pt>
                <c:pt idx="3">
                  <c:v>0.03066627222587233</c:v>
                </c:pt>
                <c:pt idx="4">
                  <c:v>0.035662555039106446</c:v>
                </c:pt>
                <c:pt idx="5">
                  <c:v>0.0012862475296222399</c:v>
                </c:pt>
                <c:pt idx="6">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
                </c:pt>
                <c:pt idx="4">
                  <c:v/>
                </c:pt>
                <c:pt idx="5">
                  <c:v>0.013959256924153805</c:v>
                </c:pt>
                <c:pt idx="6">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14685896170947494</c:v>
                </c:pt>
                <c:pt idx="1">
                  <c:v>0.10381350294445126</c:v>
                </c:pt>
                <c:pt idx="2">
                  <c:v>0.013298932772208446</c:v>
                </c:pt>
                <c:pt idx="3">
                  <c:v>0.39976047211771554</c:v>
                </c:pt>
                <c:pt idx="4">
                  <c:v>0.46489119167635223</c:v>
                </c:pt>
                <c:pt idx="5">
                  <c:v>0.016767310872177758</c:v>
                </c:pt>
                <c:pt idx="6">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0.013959256924153805</c:v>
                </c:pt>
                <c:pt idx="2">
                  <c:v/>
                </c:pt>
                <c:pt idx="3">
                  <c:v/>
                </c:pt>
                <c:pt idx="4">
                  <c:v/>
                </c:pt>
                <c:pt idx="5">
                  <c:v/>
                </c:pt>
                <c:pt idx="6">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0.11763361387768397</c:v>
                </c:pt>
                <c:pt idx="2">
                  <c:v/>
                </c:pt>
                <c:pt idx="3">
                  <c:v/>
                </c:pt>
                <c:pt idx="4">
                  <c:v/>
                </c:pt>
                <c:pt idx="5">
                  <c:v/>
                </c:pt>
                <c:pt idx="6">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2.659593210673726e-05</c:v>
                </c:pt>
                <c:pt idx="1">
                  <c:v>0.0018797458148500864</c:v>
                </c:pt>
                <c:pt idx="2">
                  <c:v>0.0002409641122004238</c:v>
                </c:pt>
                <c:pt idx="3">
                  <c:v>0.007238056330817469</c:v>
                </c:pt>
                <c:pt idx="4">
                  <c:v>0.008420148182227173</c:v>
                </c:pt>
                <c:pt idx="5">
                  <c:v>0.00030421608636078983</c:v>
                </c:pt>
                <c:pt idx="6">
                  <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0.0021340306491206915</c:v>
                </c:pt>
                <c:pt idx="4">
                  <c:v>0.0069850614376141835</c:v>
                </c:pt>
                <c:pt idx="5">
                  <c:v>0.007828485893552655</c:v>
                </c:pt>
                <c:pt idx="6">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011265788422587115</c:v>
                </c:pt>
                <c:pt idx="1">
                  <c:v>0.007963701676534166</c:v>
                </c:pt>
                <c:pt idx="2">
                  <c:v>0.0010201826372318965</c:v>
                </c:pt>
                <c:pt idx="3">
                  <c:v>0.03066627222587233</c:v>
                </c:pt>
                <c:pt idx="4">
                  <c:v>0.035662555039106446</c:v>
                </c:pt>
                <c:pt idx="5">
                  <c:v>0.0012862475296222399</c:v>
                </c:pt>
                <c:pt idx="6">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0.0023569573067529505</c:v>
                </c:pt>
                <c:pt idx="4">
                  <c:v>0.008897944805083643</c:v>
                </c:pt>
                <c:pt idx="5">
                  <c:v>0.01189177999327482</c:v>
                </c:pt>
                <c:pt idx="6">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
                </c:pt>
                <c:pt idx="4">
                  <c:v/>
                </c:pt>
                <c:pt idx="5">
                  <c:v/>
                </c:pt>
                <c:pt idx="6">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0.01189177999327482</c:v>
                </c:pt>
                <c:pt idx="2">
                  <c:v>0.008897944805083643</c:v>
                </c:pt>
                <c:pt idx="3">
                  <c:v>0.0023569573067529505</c:v>
                </c:pt>
                <c:pt idx="4">
                  <c:v/>
                </c:pt>
                <c:pt idx="5">
                  <c:v/>
                </c:pt>
                <c:pt idx="6">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2.659593210673726e-05</c:v>
                </c:pt>
                <c:pt idx="1">
                  <c:v>0.0018797458148500864</c:v>
                </c:pt>
                <c:pt idx="2">
                  <c:v>0.0002409641122004238</c:v>
                </c:pt>
                <c:pt idx="3">
                  <c:v>0.007238056330817469</c:v>
                </c:pt>
                <c:pt idx="4">
                  <c:v>0.008420148182227173</c:v>
                </c:pt>
                <c:pt idx="5">
                  <c:v>0.00030421608636078983</c:v>
                </c:pt>
                <c:pt idx="6">
                  <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1.690446963220967e-08</c:v>
                </c:pt>
                <c:pt idx="1">
                  <c:v>0.007321710699480095</c:v>
                </c:pt>
                <c:pt idx="2">
                  <c:v>0.005167568932872345</c:v>
                </c:pt>
                <c:pt idx="3">
                  <c:v>0.0038081791029285724</c:v>
                </c:pt>
                <c:pt idx="4">
                  <c:v>0.005849584961559116</c:v>
                </c:pt>
                <c:pt idx="5">
                  <c:v>0.0011084332256749863</c:v>
                </c:pt>
                <c:pt idx="6">
                  <c:v>1.1678387828221156e-0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011265788422587115</c:v>
                </c:pt>
                <c:pt idx="1">
                  <c:v>0.007963701676534166</c:v>
                </c:pt>
                <c:pt idx="2">
                  <c:v>0.0010201826372318965</c:v>
                </c:pt>
                <c:pt idx="3">
                  <c:v>0.03066627222587233</c:v>
                </c:pt>
                <c:pt idx="4">
                  <c:v>0.035662555039106446</c:v>
                </c:pt>
                <c:pt idx="5">
                  <c:v>0.0012862475296222399</c:v>
                </c:pt>
                <c:pt idx="6">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1.1152300943159527e-07</c:v>
                </c:pt>
                <c:pt idx="1">
                  <c:v>0.009611683486752821</c:v>
                </c:pt>
                <c:pt idx="2">
                  <c:v>0.008070268211894027</c:v>
                </c:pt>
                <c:pt idx="3">
                  <c:v>0.0008946847644719398</c:v>
                </c:pt>
                <c:pt idx="4">
                  <c:v>0.008742820588310812</c:v>
                </c:pt>
                <c:pt idx="5">
                  <c:v>0.0015639815268826257</c:v>
                </c:pt>
                <c:pt idx="6">
                  <c:v>3.151811820397546e-05</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
                </c:pt>
                <c:pt idx="4">
                  <c:v/>
                </c:pt>
                <c:pt idx="5">
                  <c:v/>
                </c:pt>
                <c:pt idx="6">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3.151811820397546e-05</c:v>
                </c:pt>
                <c:pt idx="1">
                  <c:v>0.0015639815268826257</c:v>
                </c:pt>
                <c:pt idx="2">
                  <c:v>0.008742820588310812</c:v>
                </c:pt>
                <c:pt idx="3">
                  <c:v>0.0008946847644719398</c:v>
                </c:pt>
                <c:pt idx="4">
                  <c:v>0.008070268211894027</c:v>
                </c:pt>
                <c:pt idx="5">
                  <c:v>0.009611683486752821</c:v>
                </c:pt>
                <c:pt idx="6">
                  <c:v>1.1152300943159527e-07</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
                </c:pt>
                <c:pt idx="4">
                  <c:v/>
                </c:pt>
                <c:pt idx="5">
                  <c:v>0.08824407089686304</c:v>
                </c:pt>
                <c:pt idx="6">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2.659593210673726e-05</c:v>
                </c:pt>
                <c:pt idx="1">
                  <c:v>0.0018797458148500864</c:v>
                </c:pt>
                <c:pt idx="2">
                  <c:v>0.0002409641122004238</c:v>
                </c:pt>
                <c:pt idx="3">
                  <c:v>0.007238056330817469</c:v>
                </c:pt>
                <c:pt idx="4">
                  <c:v>0.008420148182227173</c:v>
                </c:pt>
                <c:pt idx="5">
                  <c:v>0.00030421608636078983</c:v>
                </c:pt>
                <c:pt idx="6">
                  <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0.004548842588316658</c:v>
                </c:pt>
                <c:pt idx="3">
                  <c:v>0.002358121499940534</c:v>
                </c:pt>
                <c:pt idx="4">
                  <c:v>0.008125951244983012</c:v>
                </c:pt>
                <c:pt idx="5">
                  <c:v>0.004012918237050989</c:v>
                </c:pt>
                <c:pt idx="6">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011265788422587115</c:v>
                </c:pt>
                <c:pt idx="1">
                  <c:v>0.007963701676534166</c:v>
                </c:pt>
                <c:pt idx="2">
                  <c:v>0.0010201826372318965</c:v>
                </c:pt>
                <c:pt idx="3">
                  <c:v>0.03066627222587233</c:v>
                </c:pt>
                <c:pt idx="4">
                  <c:v>0.035662555039106446</c:v>
                </c:pt>
                <c:pt idx="5">
                  <c:v>0.0012862475296222399</c:v>
                </c:pt>
                <c:pt idx="6">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0.008123258798760101</c:v>
                </c:pt>
                <c:pt idx="3">
                  <c:v>0.0019586700359540744</c:v>
                </c:pt>
                <c:pt idx="4">
                  <c:v>0.008880963282224425</c:v>
                </c:pt>
                <c:pt idx="5">
                  <c:v>0.006051217045025777</c:v>
                </c:pt>
                <c:pt idx="6">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
                </c:pt>
                <c:pt idx="4">
                  <c:v/>
                </c:pt>
                <c:pt idx="5">
                  <c:v/>
                </c:pt>
                <c:pt idx="6">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0.006051217045025777</c:v>
                </c:pt>
                <c:pt idx="2">
                  <c:v>0.008880963282224425</c:v>
                </c:pt>
                <c:pt idx="3">
                  <c:v>0.0019586700359540744</c:v>
                </c:pt>
                <c:pt idx="4">
                  <c:v>0.008123258798760101</c:v>
                </c:pt>
                <c:pt idx="5">
                  <c:v/>
                </c:pt>
                <c:pt idx="6">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2.659593210673726e-05</c:v>
                </c:pt>
                <c:pt idx="1">
                  <c:v>0.0018797458148500864</c:v>
                </c:pt>
                <c:pt idx="2">
                  <c:v>0.0002409641122004238</c:v>
                </c:pt>
                <c:pt idx="3">
                  <c:v>0.007238056330817469</c:v>
                </c:pt>
                <c:pt idx="4">
                  <c:v>0.008420148182227173</c:v>
                </c:pt>
                <c:pt idx="5">
                  <c:v>0.00030421608636078983</c:v>
                </c:pt>
                <c:pt idx="6">
                  <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0.0021340306491206915</c:v>
                </c:pt>
                <c:pt idx="4">
                  <c:v>0.0069850614376141835</c:v>
                </c:pt>
                <c:pt idx="5">
                  <c:v>0.007828485893552655</c:v>
                </c:pt>
                <c:pt idx="6">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011265788422587115</c:v>
                </c:pt>
                <c:pt idx="1">
                  <c:v>0.007963701676534166</c:v>
                </c:pt>
                <c:pt idx="2">
                  <c:v>0.0010201826372318965</c:v>
                </c:pt>
                <c:pt idx="3">
                  <c:v>0.03066627222587233</c:v>
                </c:pt>
                <c:pt idx="4">
                  <c:v>0.035662555039106446</c:v>
                </c:pt>
                <c:pt idx="5">
                  <c:v>0.0012862475296222399</c:v>
                </c:pt>
                <c:pt idx="6">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0.00241640211301618</c:v>
                </c:pt>
                <c:pt idx="4">
                  <c:v>0.006047985966698131</c:v>
                </c:pt>
                <c:pt idx="5">
                  <c:v>0.006942149899591784</c:v>
                </c:pt>
                <c:pt idx="6">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14685896170947494</c:v>
                </c:pt>
                <c:pt idx="1">
                  <c:v>0.10381350294445126</c:v>
                </c:pt>
                <c:pt idx="2">
                  <c:v>0.013298932772208446</c:v>
                </c:pt>
                <c:pt idx="3">
                  <c:v>0.39976047211771554</c:v>
                </c:pt>
                <c:pt idx="4">
                  <c:v>0.46489119167635223</c:v>
                </c:pt>
                <c:pt idx="5">
                  <c:v>0.016767310872177758</c:v>
                </c:pt>
                <c:pt idx="6">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0.006942149899591784</c:v>
                </c:pt>
                <c:pt idx="2">
                  <c:v>0.006047985966698131</c:v>
                </c:pt>
                <c:pt idx="3">
                  <c:v>0.00241640211301618</c:v>
                </c:pt>
                <c:pt idx="4">
                  <c:v/>
                </c:pt>
                <c:pt idx="5">
                  <c:v/>
                </c:pt>
                <c:pt idx="6">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2.659593210673726e-05</c:v>
                </c:pt>
                <c:pt idx="1">
                  <c:v>0.0018797458148500864</c:v>
                </c:pt>
                <c:pt idx="2">
                  <c:v>0.0002409641122004238</c:v>
                </c:pt>
                <c:pt idx="3">
                  <c:v>0.007238056330817469</c:v>
                </c:pt>
                <c:pt idx="4">
                  <c:v>0.008420148182227173</c:v>
                </c:pt>
                <c:pt idx="5">
                  <c:v>0.00030421608636078983</c:v>
                </c:pt>
                <c:pt idx="6">
                  <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1.690446963220967e-08</c:v>
                </c:pt>
                <c:pt idx="1">
                  <c:v>0.007321710699480095</c:v>
                </c:pt>
                <c:pt idx="2">
                  <c:v>0.005167568932872345</c:v>
                </c:pt>
                <c:pt idx="3">
                  <c:v>0.0038081791029285724</c:v>
                </c:pt>
                <c:pt idx="4">
                  <c:v>0.005849584961559116</c:v>
                </c:pt>
                <c:pt idx="5">
                  <c:v>0.0011084332256749863</c:v>
                </c:pt>
                <c:pt idx="6">
                  <c:v>1.1678387828221156e-0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011265788422587115</c:v>
                </c:pt>
                <c:pt idx="1">
                  <c:v>0.007963701676534166</c:v>
                </c:pt>
                <c:pt idx="2">
                  <c:v>0.0010201826372318965</c:v>
                </c:pt>
                <c:pt idx="3">
                  <c:v>0.03066627222587233</c:v>
                </c:pt>
                <c:pt idx="4">
                  <c:v>0.035662555039106446</c:v>
                </c:pt>
                <c:pt idx="5">
                  <c:v>0.0012862475296222399</c:v>
                </c:pt>
                <c:pt idx="6">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0.004600061494483101</c:v>
                </c:pt>
                <c:pt idx="2">
                  <c:v>0.004039697679737115</c:v>
                </c:pt>
                <c:pt idx="3">
                  <c:v>0.0015297670711260558</c:v>
                </c:pt>
                <c:pt idx="4">
                  <c:v>0.005097125324787418</c:v>
                </c:pt>
                <c:pt idx="5">
                  <c:v>0.0003218304762119427</c:v>
                </c:pt>
                <c:pt idx="6">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14685896170947494</c:v>
                </c:pt>
                <c:pt idx="1">
                  <c:v>0.10381350294445126</c:v>
                </c:pt>
                <c:pt idx="2">
                  <c:v>0.013298932772208446</c:v>
                </c:pt>
                <c:pt idx="3">
                  <c:v>0.39976047211771554</c:v>
                </c:pt>
                <c:pt idx="4">
                  <c:v>0.46489119167635223</c:v>
                </c:pt>
                <c:pt idx="5">
                  <c:v>0.016767310872177758</c:v>
                </c:pt>
                <c:pt idx="6">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0.0003218304762119427</c:v>
                </c:pt>
                <c:pt idx="2">
                  <c:v>0.005097125324787418</c:v>
                </c:pt>
                <c:pt idx="3">
                  <c:v>0.0015297670711260558</c:v>
                </c:pt>
                <c:pt idx="4">
                  <c:v>0.004039697679737115</c:v>
                </c:pt>
                <c:pt idx="5">
                  <c:v>0.004600061494483101</c:v>
                </c:pt>
                <c:pt idx="6">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2.659593210673726e-05</c:v>
                </c:pt>
                <c:pt idx="1">
                  <c:v>0.0018797458148500864</c:v>
                </c:pt>
                <c:pt idx="2">
                  <c:v>0.0002409641122004238</c:v>
                </c:pt>
                <c:pt idx="3">
                  <c:v>0.007238056330817469</c:v>
                </c:pt>
                <c:pt idx="4">
                  <c:v>0.008420148182227173</c:v>
                </c:pt>
                <c:pt idx="5">
                  <c:v>0.00030421608636078983</c:v>
                </c:pt>
                <c:pt idx="6">
                  <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0.004548842588316658</c:v>
                </c:pt>
                <c:pt idx="3">
                  <c:v>0.002358121499940534</c:v>
                </c:pt>
                <c:pt idx="4">
                  <c:v>0.008125951244983012</c:v>
                </c:pt>
                <c:pt idx="5">
                  <c:v>0.004012918237050989</c:v>
                </c:pt>
                <c:pt idx="6">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011265788422587115</c:v>
                </c:pt>
                <c:pt idx="1">
                  <c:v>0.007963701676534166</c:v>
                </c:pt>
                <c:pt idx="2">
                  <c:v>0.0010201826372318965</c:v>
                </c:pt>
                <c:pt idx="3">
                  <c:v>0.03066627222587233</c:v>
                </c:pt>
                <c:pt idx="4">
                  <c:v>0.035662555039106446</c:v>
                </c:pt>
                <c:pt idx="5">
                  <c:v>0.0012862475296222399</c:v>
                </c:pt>
                <c:pt idx="6">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0.0031926492326954012</c:v>
                </c:pt>
                <c:pt idx="3">
                  <c:v>0.0021819403811060714</c:v>
                </c:pt>
                <c:pt idx="4">
                  <c:v>0.004899049100515293</c:v>
                </c:pt>
                <c:pt idx="5">
                  <c:v>0.0028034939971584537</c:v>
                </c:pt>
                <c:pt idx="6">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14685896170947494</c:v>
                </c:pt>
                <c:pt idx="1">
                  <c:v>0.10381350294445126</c:v>
                </c:pt>
                <c:pt idx="2">
                  <c:v>0.013298932772208446</c:v>
                </c:pt>
                <c:pt idx="3">
                  <c:v>0.39976047211771554</c:v>
                </c:pt>
                <c:pt idx="4">
                  <c:v>0.46489119167635223</c:v>
                </c:pt>
                <c:pt idx="5">
                  <c:v>0.016767310872177758</c:v>
                </c:pt>
                <c:pt idx="6">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0.0028034939971584537</c:v>
                </c:pt>
                <c:pt idx="2">
                  <c:v>0.004899049100515293</c:v>
                </c:pt>
                <c:pt idx="3">
                  <c:v>0.0021819403811060714</c:v>
                </c:pt>
                <c:pt idx="4">
                  <c:v>0.0031926492326954012</c:v>
                </c:pt>
                <c:pt idx="5">
                  <c:v/>
                </c:pt>
                <c:pt idx="6">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2.659593210673726e-05</c:v>
                </c:pt>
                <c:pt idx="1">
                  <c:v>0.0018797458148500864</c:v>
                </c:pt>
                <c:pt idx="2">
                  <c:v>0.0002409641122004238</c:v>
                </c:pt>
                <c:pt idx="3">
                  <c:v>0.007238056330817469</c:v>
                </c:pt>
                <c:pt idx="4">
                  <c:v>0.008420148182227173</c:v>
                </c:pt>
                <c:pt idx="5">
                  <c:v>0.00030421608636078983</c:v>
                </c:pt>
                <c:pt idx="6">
                  <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2.659593210673726e-05</c:v>
                </c:pt>
                <c:pt idx="1">
                  <c:v>0.0018797458148500864</c:v>
                </c:pt>
                <c:pt idx="2">
                  <c:v>0.0002409641122004238</c:v>
                </c:pt>
                <c:pt idx="3">
                  <c:v>0.007238056330817469</c:v>
                </c:pt>
                <c:pt idx="4">
                  <c:v>0.008420148182227173</c:v>
                </c:pt>
                <c:pt idx="5">
                  <c:v>0.00030421608636078983</c:v>
                </c:pt>
                <c:pt idx="6">
                  <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0.0025255679109854054</c:v>
                </c:pt>
                <c:pt idx="4">
                  <c:v>0.008094831054777785</c:v>
                </c:pt>
                <c:pt idx="5">
                  <c:v>0.005550819933616693</c:v>
                </c:pt>
                <c:pt idx="6">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011265788422587115</c:v>
                </c:pt>
                <c:pt idx="1">
                  <c:v>0.007963701676534166</c:v>
                </c:pt>
                <c:pt idx="2">
                  <c:v>0.0010201826372318965</c:v>
                </c:pt>
                <c:pt idx="3">
                  <c:v>0.03066627222587233</c:v>
                </c:pt>
                <c:pt idx="4">
                  <c:v>0.035662555039106446</c:v>
                </c:pt>
                <c:pt idx="5">
                  <c:v>0.0012862475296222399</c:v>
                </c:pt>
                <c:pt idx="6">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0.002476399280447082</c:v>
                </c:pt>
                <c:pt idx="4">
                  <c:v>0.009166887961390938</c:v>
                </c:pt>
                <c:pt idx="5">
                  <c:v>0.007849336338458905</c:v>
                </c:pt>
                <c:pt idx="6">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
                </c:pt>
                <c:pt idx="4">
                  <c:v/>
                </c:pt>
                <c:pt idx="5">
                  <c:v/>
                </c:pt>
                <c:pt idx="6">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0.007849336338458905</c:v>
                </c:pt>
                <c:pt idx="2">
                  <c:v>0.009166887961390938</c:v>
                </c:pt>
                <c:pt idx="3">
                  <c:v>0.002476399280447082</c:v>
                </c:pt>
                <c:pt idx="4">
                  <c:v/>
                </c:pt>
                <c:pt idx="5">
                  <c:v/>
                </c:pt>
                <c:pt idx="6">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
                </c:pt>
                <c:pt idx="4">
                  <c:v>0.021681402222724067</c:v>
                </c:pt>
                <c:pt idx="5">
                  <c:v/>
                </c:pt>
                <c:pt idx="6">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2.659593210673726e-05</c:v>
                </c:pt>
                <c:pt idx="1">
                  <c:v>0.0018797458148500864</c:v>
                </c:pt>
                <c:pt idx="2">
                  <c:v>0.0002409641122004238</c:v>
                </c:pt>
                <c:pt idx="3">
                  <c:v>0.007238056330817469</c:v>
                </c:pt>
                <c:pt idx="4">
                  <c:v>0.008420148182227173</c:v>
                </c:pt>
                <c:pt idx="5">
                  <c:v>0.00030421608636078983</c:v>
                </c:pt>
                <c:pt idx="6">
                  <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2.0005985421496842e-08</c:v>
                </c:pt>
                <c:pt idx="1">
                  <c:v>0.00866504780694911</c:v>
                </c:pt>
                <c:pt idx="2">
                  <c:v>0.006115678928999946</c:v>
                </c:pt>
                <c:pt idx="3">
                  <c:v>0.004506877605344856</c:v>
                </c:pt>
                <c:pt idx="4">
                  <c:v>0.0069227904018521035</c:v>
                </c:pt>
                <c:pt idx="5">
                  <c:v>0.0013118009281583032</c:v>
                </c:pt>
                <c:pt idx="6">
                  <c:v>1.382105808234332e-0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011265788422587115</c:v>
                </c:pt>
                <c:pt idx="1">
                  <c:v>0.007963701676534166</c:v>
                </c:pt>
                <c:pt idx="2">
                  <c:v>0.0010201826372318965</c:v>
                </c:pt>
                <c:pt idx="3">
                  <c:v>0.03066627222587233</c:v>
                </c:pt>
                <c:pt idx="4">
                  <c:v>0.035662555039106446</c:v>
                </c:pt>
                <c:pt idx="5">
                  <c:v>0.0012862475296222399</c:v>
                </c:pt>
                <c:pt idx="6">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1.1717458755761993e-07</c:v>
                </c:pt>
                <c:pt idx="1">
                  <c:v>0.010098768442806877</c:v>
                </c:pt>
                <c:pt idx="2">
                  <c:v>0.008479239880879232</c:v>
                </c:pt>
                <c:pt idx="3">
                  <c:v>0.0009400241152511937</c:v>
                </c:pt>
                <c:pt idx="4">
                  <c:v>0.009185874751290178</c:v>
                </c:pt>
                <c:pt idx="5">
                  <c:v>0.0016432383890484376</c:v>
                </c:pt>
                <c:pt idx="6">
                  <c:v>3.311534112974581e-05</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
                </c:pt>
                <c:pt idx="4">
                  <c:v/>
                </c:pt>
                <c:pt idx="5">
                  <c:v/>
                </c:pt>
                <c:pt idx="6">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011265788422587115</c:v>
                </c:pt>
                <c:pt idx="1">
                  <c:v>0.007963701676534166</c:v>
                </c:pt>
                <c:pt idx="2">
                  <c:v>0.0010201826372318965</c:v>
                </c:pt>
                <c:pt idx="3">
                  <c:v>0.03066627222587233</c:v>
                </c:pt>
                <c:pt idx="4">
                  <c:v>0.035662555039106446</c:v>
                </c:pt>
                <c:pt idx="5">
                  <c:v>0.0012862475296222399</c:v>
                </c:pt>
                <c:pt idx="6">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3.311534112974581e-05</c:v>
                </c:pt>
                <c:pt idx="1">
                  <c:v>0.0016432383890484376</c:v>
                </c:pt>
                <c:pt idx="2">
                  <c:v>0.009185874751290178</c:v>
                </c:pt>
                <c:pt idx="3">
                  <c:v>0.0009400241152511937</c:v>
                </c:pt>
                <c:pt idx="4">
                  <c:v>0.008479239880879232</c:v>
                </c:pt>
                <c:pt idx="5">
                  <c:v>0.010098768442806877</c:v>
                </c:pt>
                <c:pt idx="6">
                  <c:v>1.1717458755761993e-07</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2.659593210673726e-05</c:v>
                </c:pt>
                <c:pt idx="1">
                  <c:v>0.0018797458148500864</c:v>
                </c:pt>
                <c:pt idx="2">
                  <c:v>0.0002409641122004238</c:v>
                </c:pt>
                <c:pt idx="3">
                  <c:v>0.007238056330817469</c:v>
                </c:pt>
                <c:pt idx="4">
                  <c:v>0.008420148182227173</c:v>
                </c:pt>
                <c:pt idx="5">
                  <c:v>0.00030421608636078983</c:v>
                </c:pt>
                <c:pt idx="6">
                  <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0.00538343293143894</c:v>
                </c:pt>
                <c:pt idx="3">
                  <c:v>0.0027907734094205897</c:v>
                </c:pt>
                <c:pt idx="4">
                  <c:v>0.009616844874752466</c:v>
                </c:pt>
                <c:pt idx="5">
                  <c:v>0.004749180867238293</c:v>
                </c:pt>
                <c:pt idx="6">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011265788422587115</c:v>
                </c:pt>
                <c:pt idx="1">
                  <c:v>0.007963701676534166</c:v>
                </c:pt>
                <c:pt idx="2">
                  <c:v>0.0010201826372318965</c:v>
                </c:pt>
                <c:pt idx="3">
                  <c:v>0.03066627222587233</c:v>
                </c:pt>
                <c:pt idx="4">
                  <c:v>0.035662555039106446</c:v>
                </c:pt>
                <c:pt idx="5">
                  <c:v>0.0012862475296222399</c:v>
                </c:pt>
                <c:pt idx="6">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
                </c:pt>
                <c:pt idx="4">
                  <c:v>0.021688916322634172</c:v>
                </c:pt>
                <c:pt idx="5">
                  <c:v/>
                </c:pt>
                <c:pt idx="6">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0.008534915836828727</c:v>
                </c:pt>
                <c:pt idx="3">
                  <c:v>0.0020579282678446667</c:v>
                </c:pt>
                <c:pt idx="4">
                  <c:v>0.009331018011554821</c:v>
                </c:pt>
                <c:pt idx="5">
                  <c:v>0.0063578705873019266</c:v>
                </c:pt>
                <c:pt idx="6">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
                </c:pt>
                <c:pt idx="4">
                  <c:v/>
                </c:pt>
                <c:pt idx="5">
                  <c:v/>
                </c:pt>
                <c:pt idx="6">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0.0063578705873019266</c:v>
                </c:pt>
                <c:pt idx="2">
                  <c:v>0.009331018011554821</c:v>
                </c:pt>
                <c:pt idx="3">
                  <c:v>0.0020579282678446667</c:v>
                </c:pt>
                <c:pt idx="4">
                  <c:v>0.008534915836828727</c:v>
                </c:pt>
                <c:pt idx="5">
                  <c:v/>
                </c:pt>
                <c:pt idx="6">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2.659593210673726e-05</c:v>
                </c:pt>
                <c:pt idx="1">
                  <c:v>0.0018797458148500864</c:v>
                </c:pt>
                <c:pt idx="2">
                  <c:v>0.0002409641122004238</c:v>
                </c:pt>
                <c:pt idx="3">
                  <c:v>0.007238056330817469</c:v>
                </c:pt>
                <c:pt idx="4">
                  <c:v>0.008420148182227173</c:v>
                </c:pt>
                <c:pt idx="5">
                  <c:v>0.00030421608636078983</c:v>
                </c:pt>
                <c:pt idx="6">
                  <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14685896170947494</c:v>
                </c:pt>
                <c:pt idx="1">
                  <c:v>0.10381350294445126</c:v>
                </c:pt>
                <c:pt idx="2">
                  <c:v>0.013298932772208446</c:v>
                </c:pt>
                <c:pt idx="3">
                  <c:v>0.39976047211771554</c:v>
                </c:pt>
                <c:pt idx="4">
                  <c:v>0.46489119167635223</c:v>
                </c:pt>
                <c:pt idx="5">
                  <c:v>0.016767310872177758</c:v>
                </c:pt>
                <c:pt idx="6">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0.0025255679109854054</c:v>
                </c:pt>
                <c:pt idx="4">
                  <c:v>0.008094831054777785</c:v>
                </c:pt>
                <c:pt idx="5">
                  <c:v>0.005550819933616693</c:v>
                </c:pt>
                <c:pt idx="6">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011265788422587115</c:v>
                </c:pt>
                <c:pt idx="1">
                  <c:v>0.007963701676534166</c:v>
                </c:pt>
                <c:pt idx="2">
                  <c:v>0.0010201826372318965</c:v>
                </c:pt>
                <c:pt idx="3">
                  <c:v>0.03066627222587233</c:v>
                </c:pt>
                <c:pt idx="4">
                  <c:v>0.035662555039106446</c:v>
                </c:pt>
                <c:pt idx="5">
                  <c:v>0.0012862475296222399</c:v>
                </c:pt>
                <c:pt idx="6">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0.005092500126360661</c:v>
                </c:pt>
                <c:pt idx="4">
                  <c:v>0.011738217493863482</c:v>
                </c:pt>
                <c:pt idx="5">
                  <c:v>0.007790917106233211</c:v>
                </c:pt>
                <c:pt idx="6">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14685896170947494</c:v>
                </c:pt>
                <c:pt idx="1">
                  <c:v>0.10381350294445126</c:v>
                </c:pt>
                <c:pt idx="2">
                  <c:v>0.013298932772208446</c:v>
                </c:pt>
                <c:pt idx="3">
                  <c:v>0.39976047211771554</c:v>
                </c:pt>
                <c:pt idx="4">
                  <c:v>0.46489119167635223</c:v>
                </c:pt>
                <c:pt idx="5">
                  <c:v>0.016767310872177758</c:v>
                </c:pt>
                <c:pt idx="6">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0.007790917106233211</c:v>
                </c:pt>
                <c:pt idx="2">
                  <c:v>0.011738217493863482</c:v>
                </c:pt>
                <c:pt idx="3">
                  <c:v>0.005092500126360661</c:v>
                </c:pt>
                <c:pt idx="4">
                  <c:v/>
                </c:pt>
                <c:pt idx="5">
                  <c:v/>
                </c:pt>
                <c:pt idx="6">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011265788422587115</c:v>
                </c:pt>
                <c:pt idx="1">
                  <c:v>0.007963701676534166</c:v>
                </c:pt>
                <c:pt idx="2">
                  <c:v>0.0010201826372318965</c:v>
                </c:pt>
                <c:pt idx="3">
                  <c:v>0.03066627222587233</c:v>
                </c:pt>
                <c:pt idx="4">
                  <c:v>0.035662555039106446</c:v>
                </c:pt>
                <c:pt idx="5">
                  <c:v>0.0012862475296222399</c:v>
                </c:pt>
                <c:pt idx="6">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0.021688916322634172</c:v>
                </c:pt>
                <c:pt idx="3">
                  <c:v/>
                </c:pt>
                <c:pt idx="4">
                  <c:v/>
                </c:pt>
                <c:pt idx="5">
                  <c:v/>
                </c:pt>
                <c:pt idx="6">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2.659593210673726e-05</c:v>
                </c:pt>
                <c:pt idx="1">
                  <c:v>0.0018797458148500864</c:v>
                </c:pt>
                <c:pt idx="2">
                  <c:v>0.0002409641122004238</c:v>
                </c:pt>
                <c:pt idx="3">
                  <c:v>0.007238056330817469</c:v>
                </c:pt>
                <c:pt idx="4">
                  <c:v>0.008420148182227173</c:v>
                </c:pt>
                <c:pt idx="5">
                  <c:v>0.00030421608636078983</c:v>
                </c:pt>
                <c:pt idx="6">
                  <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2.0005985421496842e-08</c:v>
                </c:pt>
                <c:pt idx="1">
                  <c:v>0.00866504780694911</c:v>
                </c:pt>
                <c:pt idx="2">
                  <c:v>0.006115678928999946</c:v>
                </c:pt>
                <c:pt idx="3">
                  <c:v>0.004506877605344856</c:v>
                </c:pt>
                <c:pt idx="4">
                  <c:v>0.0069227904018521035</c:v>
                </c:pt>
                <c:pt idx="5">
                  <c:v>0.0013118009281583032</c:v>
                </c:pt>
                <c:pt idx="6">
                  <c:v>1.382105808234332e-0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011265788422587115</c:v>
                </c:pt>
                <c:pt idx="1">
                  <c:v>0.007963701676534166</c:v>
                </c:pt>
                <c:pt idx="2">
                  <c:v>0.0010201826372318965</c:v>
                </c:pt>
                <c:pt idx="3">
                  <c:v>0.03066627222587233</c:v>
                </c:pt>
                <c:pt idx="4">
                  <c:v>0.035662555039106446</c:v>
                </c:pt>
                <c:pt idx="5">
                  <c:v>0.0012862475296222399</c:v>
                </c:pt>
                <c:pt idx="6">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0.009694501430757998</c:v>
                </c:pt>
                <c:pt idx="2">
                  <c:v>0.008513550304275195</c:v>
                </c:pt>
                <c:pt idx="3">
                  <c:v>0.003223941479378956</c:v>
                </c:pt>
                <c:pt idx="4">
                  <c:v>0.010741776736682298</c:v>
                </c:pt>
                <c:pt idx="5">
                  <c:v>0.0006782487616393902</c:v>
                </c:pt>
                <c:pt idx="6">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14685896170947494</c:v>
                </c:pt>
                <c:pt idx="1">
                  <c:v>0.10381350294445126</c:v>
                </c:pt>
                <c:pt idx="2">
                  <c:v>0.013298932772208446</c:v>
                </c:pt>
                <c:pt idx="3">
                  <c:v>0.39976047211771554</c:v>
                </c:pt>
                <c:pt idx="4">
                  <c:v>0.46489119167635223</c:v>
                </c:pt>
                <c:pt idx="5">
                  <c:v>0.016767310872177758</c:v>
                </c:pt>
                <c:pt idx="6">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0.0006782487616393902</c:v>
                </c:pt>
                <c:pt idx="2">
                  <c:v>0.010741776736682298</c:v>
                </c:pt>
                <c:pt idx="3">
                  <c:v>0.003223941479378956</c:v>
                </c:pt>
                <c:pt idx="4">
                  <c:v>0.008513550304275195</c:v>
                </c:pt>
                <c:pt idx="5">
                  <c:v>0.009694501430757998</c:v>
                </c:pt>
                <c:pt idx="6">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2.659593210673726e-05</c:v>
                </c:pt>
                <c:pt idx="1">
                  <c:v>0.0018797458148500864</c:v>
                </c:pt>
                <c:pt idx="2">
                  <c:v>0.0002409641122004238</c:v>
                </c:pt>
                <c:pt idx="3">
                  <c:v>0.007238056330817469</c:v>
                </c:pt>
                <c:pt idx="4">
                  <c:v>0.008420148182227173</c:v>
                </c:pt>
                <c:pt idx="5">
                  <c:v>0.00030421608636078983</c:v>
                </c:pt>
                <c:pt idx="6">
                  <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0.00538343293143894</c:v>
                </c:pt>
                <c:pt idx="3">
                  <c:v>0.0027907734094205897</c:v>
                </c:pt>
                <c:pt idx="4">
                  <c:v>0.009616844874752466</c:v>
                </c:pt>
                <c:pt idx="5">
                  <c:v>0.004749180867238293</c:v>
                </c:pt>
                <c:pt idx="6">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011265788422587115</c:v>
                </c:pt>
                <c:pt idx="1">
                  <c:v>0.007963701676534166</c:v>
                </c:pt>
                <c:pt idx="2">
                  <c:v>0.0010201826372318965</c:v>
                </c:pt>
                <c:pt idx="3">
                  <c:v>0.03066627222587233</c:v>
                </c:pt>
                <c:pt idx="4">
                  <c:v>0.035662555039106446</c:v>
                </c:pt>
                <c:pt idx="5">
                  <c:v>0.0012862475296222399</c:v>
                </c:pt>
                <c:pt idx="6">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0.006728419302958015</c:v>
                </c:pt>
                <c:pt idx="3">
                  <c:v>0.004598378559032363</c:v>
                </c:pt>
                <c:pt idx="4">
                  <c:v>0.010324609479951303</c:v>
                </c:pt>
                <c:pt idx="5">
                  <c:v>0.005908285486872187</c:v>
                </c:pt>
                <c:pt idx="6">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14685896170947494</c:v>
                </c:pt>
                <c:pt idx="1">
                  <c:v>0.10381350294445126</c:v>
                </c:pt>
                <c:pt idx="2">
                  <c:v>0.013298932772208446</c:v>
                </c:pt>
                <c:pt idx="3">
                  <c:v>0.39976047211771554</c:v>
                </c:pt>
                <c:pt idx="4">
                  <c:v>0.46489119167635223</c:v>
                </c:pt>
                <c:pt idx="5">
                  <c:v>0.016767310872177758</c:v>
                </c:pt>
                <c:pt idx="6">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0.005908285486872187</c:v>
                </c:pt>
                <c:pt idx="2">
                  <c:v>0.010324609479951303</c:v>
                </c:pt>
                <c:pt idx="3">
                  <c:v>0.004598378559032363</c:v>
                </c:pt>
                <c:pt idx="4">
                  <c:v>0.006728419302958015</c:v>
                </c:pt>
                <c:pt idx="5">
                  <c:v/>
                </c:pt>
                <c:pt idx="6">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2.659593210673726e-05</c:v>
                </c:pt>
                <c:pt idx="1">
                  <c:v>0.0018797458148500864</c:v>
                </c:pt>
                <c:pt idx="2">
                  <c:v>0.0002409641122004238</c:v>
                </c:pt>
                <c:pt idx="3">
                  <c:v>0.007238056330817469</c:v>
                </c:pt>
                <c:pt idx="4">
                  <c:v>0.008420148182227173</c:v>
                </c:pt>
                <c:pt idx="5">
                  <c:v>0.00030421608636078983</c:v>
                </c:pt>
                <c:pt idx="6">
                  <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
                </c:pt>
                <c:pt idx="4">
                  <c:v>5.870573587515014e-06</c:v>
                </c:pt>
                <c:pt idx="5">
                  <c:v/>
                </c:pt>
                <c:pt idx="6">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011265788422587115</c:v>
                </c:pt>
                <c:pt idx="1">
                  <c:v>0.007963701676534166</c:v>
                </c:pt>
                <c:pt idx="2">
                  <c:v>0.0010201826372318965</c:v>
                </c:pt>
                <c:pt idx="3">
                  <c:v>0.03066627222587233</c:v>
                </c:pt>
                <c:pt idx="4">
                  <c:v>0.035662555039106446</c:v>
                </c:pt>
                <c:pt idx="5">
                  <c:v>0.0012862475296222399</c:v>
                </c:pt>
                <c:pt idx="6">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
                </c:pt>
                <c:pt idx="4">
                  <c:v/>
                </c:pt>
                <c:pt idx="5">
                  <c:v>0.10003110540656611</c:v>
                </c:pt>
                <c:pt idx="6">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
                </c:pt>
                <c:pt idx="4">
                  <c:v>5.872709643239137e-06</c:v>
                </c:pt>
                <c:pt idx="5">
                  <c:v/>
                </c:pt>
                <c:pt idx="6">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14685896170947494</c:v>
                </c:pt>
                <c:pt idx="1">
                  <c:v>0.10381350294445126</c:v>
                </c:pt>
                <c:pt idx="2">
                  <c:v>0.013298932772208446</c:v>
                </c:pt>
                <c:pt idx="3">
                  <c:v>0.39976047211771554</c:v>
                </c:pt>
                <c:pt idx="4">
                  <c:v>0.46489119167635223</c:v>
                </c:pt>
                <c:pt idx="5">
                  <c:v>0.016767310872177758</c:v>
                </c:pt>
                <c:pt idx="6">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5.872709643239137e-06</c:v>
                </c:pt>
                <c:pt idx="3">
                  <c:v/>
                </c:pt>
                <c:pt idx="4">
                  <c:v/>
                </c:pt>
                <c:pt idx="5">
                  <c:v/>
                </c:pt>
                <c:pt idx="6">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2.659593210673726e-05</c:v>
                </c:pt>
                <c:pt idx="1">
                  <c:v>0.0018797458148500864</c:v>
                </c:pt>
                <c:pt idx="2">
                  <c:v>0.0002409641122004238</c:v>
                </c:pt>
                <c:pt idx="3">
                  <c:v>0.007238056330817469</c:v>
                </c:pt>
                <c:pt idx="4">
                  <c:v>0.008420148182227173</c:v>
                </c:pt>
                <c:pt idx="5">
                  <c:v>0.00030421608636078983</c:v>
                </c:pt>
                <c:pt idx="6">
                  <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
                </c:pt>
                <c:pt idx="4">
                  <c:v/>
                </c:pt>
                <c:pt idx="5">
                  <c:v/>
                </c:pt>
                <c:pt idx="6">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0.08209817276612301</c:v>
                </c:pt>
                <c:pt idx="2">
                  <c:v>0.05794383094949777</c:v>
                </c:pt>
                <c:pt idx="3">
                  <c:v>0.04270102422085179</c:v>
                </c:pt>
                <c:pt idx="4">
                  <c:v>0.06559091826119108</c:v>
                </c:pt>
                <c:pt idx="5">
                  <c:v>0.012428836128097474</c:v>
                </c:pt>
                <c:pt idx="6">
                  <c:v>0.0001309494926669487</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011265788422587115</c:v>
                </c:pt>
                <c:pt idx="1">
                  <c:v>0.007963701676534166</c:v>
                </c:pt>
                <c:pt idx="2">
                  <c:v>0.0010201826372318965</c:v>
                </c:pt>
                <c:pt idx="3">
                  <c:v>0.03066627222587233</c:v>
                </c:pt>
                <c:pt idx="4">
                  <c:v>0.035662555039106446</c:v>
                </c:pt>
                <c:pt idx="5">
                  <c:v>0.0012862475296222399</c:v>
                </c:pt>
                <c:pt idx="6">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0.09266040284708145</c:v>
                </c:pt>
                <c:pt idx="2">
                  <c:v>0.07780055435957021</c:v>
                </c:pt>
                <c:pt idx="3">
                  <c:v>0.00862511242815835</c:v>
                </c:pt>
                <c:pt idx="4">
                  <c:v>0.08428422334642685</c:v>
                </c:pt>
                <c:pt idx="5">
                  <c:v>0.015077396017676884</c:v>
                </c:pt>
                <c:pt idx="6">
                  <c:v>0.000303847035099253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
                </c:pt>
                <c:pt idx="4">
                  <c:v/>
                </c:pt>
                <c:pt idx="5">
                  <c:v/>
                </c:pt>
                <c:pt idx="6">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03038470350992533</c:v>
                </c:pt>
                <c:pt idx="1">
                  <c:v>0.015077396017676884</c:v>
                </c:pt>
                <c:pt idx="2">
                  <c:v>0.08428422334642685</c:v>
                </c:pt>
                <c:pt idx="3">
                  <c:v>0.00862511242815835</c:v>
                </c:pt>
                <c:pt idx="4">
                  <c:v>0.07780055435957021</c:v>
                </c:pt>
                <c:pt idx="5">
                  <c:v>0.09266040284708145</c:v>
                </c:pt>
                <c:pt idx="6">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0.10003110540656611</c:v>
                </c:pt>
                <c:pt idx="2">
                  <c:v/>
                </c:pt>
                <c:pt idx="3">
                  <c:v/>
                </c:pt>
                <c:pt idx="4">
                  <c:v/>
                </c:pt>
                <c:pt idx="5">
                  <c:v/>
                </c:pt>
                <c:pt idx="6">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2.659593210673726e-05</c:v>
                </c:pt>
                <c:pt idx="1">
                  <c:v>0.0018797458148500864</c:v>
                </c:pt>
                <c:pt idx="2">
                  <c:v>0.0002409641122004238</c:v>
                </c:pt>
                <c:pt idx="3">
                  <c:v>0.007238056330817469</c:v>
                </c:pt>
                <c:pt idx="4">
                  <c:v>0.008420148182227173</c:v>
                </c:pt>
                <c:pt idx="5">
                  <c:v>0.00030421608636078983</c:v>
                </c:pt>
                <c:pt idx="6">
                  <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0.051006066755415164</c:v>
                </c:pt>
                <c:pt idx="3">
                  <c:v>0.026441561849660927</c:v>
                </c:pt>
                <c:pt idx="4">
                  <c:v>0.08803960684853453</c:v>
                </c:pt>
                <c:pt idx="5">
                  <c:v>0.038898859553271804</c:v>
                </c:pt>
                <c:pt idx="6">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011265788422587115</c:v>
                </c:pt>
                <c:pt idx="1">
                  <c:v>0.007963701676534166</c:v>
                </c:pt>
                <c:pt idx="2">
                  <c:v>0.0010201826372318965</c:v>
                </c:pt>
                <c:pt idx="3">
                  <c:v>0.03066627222587233</c:v>
                </c:pt>
                <c:pt idx="4">
                  <c:v>0.035662555039106446</c:v>
                </c:pt>
                <c:pt idx="5">
                  <c:v>0.0012862475296222399</c:v>
                </c:pt>
                <c:pt idx="6">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0.07831140442375314</c:v>
                </c:pt>
                <c:pt idx="3">
                  <c:v>0.01888234821986699</c:v>
                </c:pt>
                <c:pt idx="4">
                  <c:v>0.07974748276914807</c:v>
                </c:pt>
                <c:pt idx="5">
                  <c:v>0.05151538746637596</c:v>
                </c:pt>
                <c:pt idx="6">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
                </c:pt>
                <c:pt idx="4">
                  <c:v/>
                </c:pt>
                <c:pt idx="5">
                  <c:v/>
                </c:pt>
                <c:pt idx="6">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0.05151538746637596</c:v>
                </c:pt>
                <c:pt idx="2">
                  <c:v>0.07974748276914807</c:v>
                </c:pt>
                <c:pt idx="3">
                  <c:v>0.01888234821986699</c:v>
                </c:pt>
                <c:pt idx="4">
                  <c:v>0.07831140442375314</c:v>
                </c:pt>
                <c:pt idx="5">
                  <c:v/>
                </c:pt>
                <c:pt idx="6">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2.659593210673726e-05</c:v>
                </c:pt>
                <c:pt idx="1">
                  <c:v>0.0018797458148500864</c:v>
                </c:pt>
                <c:pt idx="2">
                  <c:v>0.0002409641122004238</c:v>
                </c:pt>
                <c:pt idx="3">
                  <c:v>0.007238056330817469</c:v>
                </c:pt>
                <c:pt idx="4">
                  <c:v>0.008420148182227173</c:v>
                </c:pt>
                <c:pt idx="5">
                  <c:v>0.00030421608636078983</c:v>
                </c:pt>
                <c:pt idx="6">
                  <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0.08209817276612301</c:v>
                </c:pt>
                <c:pt idx="2">
                  <c:v>0.05794383094949777</c:v>
                </c:pt>
                <c:pt idx="3">
                  <c:v>0.04270102422085179</c:v>
                </c:pt>
                <c:pt idx="4">
                  <c:v>0.06559091826119108</c:v>
                </c:pt>
                <c:pt idx="5">
                  <c:v>0.012428836128097474</c:v>
                </c:pt>
                <c:pt idx="6">
                  <c:v>0.0001309494926669487</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011265788422587115</c:v>
                </c:pt>
                <c:pt idx="1">
                  <c:v>0.007963701676534166</c:v>
                </c:pt>
                <c:pt idx="2">
                  <c:v>0.0010201826372318965</c:v>
                </c:pt>
                <c:pt idx="3">
                  <c:v>0.03066627222587233</c:v>
                </c:pt>
                <c:pt idx="4">
                  <c:v>0.035662555039106446</c:v>
                </c:pt>
                <c:pt idx="5">
                  <c:v>0.0012862475296222399</c:v>
                </c:pt>
                <c:pt idx="6">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0.08551731978846905</c:v>
                </c:pt>
                <c:pt idx="2">
                  <c:v>0.07509989132561243</c:v>
                </c:pt>
                <c:pt idx="3">
                  <c:v>0.028439093690432658</c:v>
                </c:pt>
                <c:pt idx="4">
                  <c:v>0.09475556456907686</c:v>
                </c:pt>
                <c:pt idx="5">
                  <c:v>0.005982980832951795</c:v>
                </c:pt>
                <c:pt idx="6">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14685896170947494</c:v>
                </c:pt>
                <c:pt idx="1">
                  <c:v>0.10381350294445126</c:v>
                </c:pt>
                <c:pt idx="2">
                  <c:v>0.013298932772208446</c:v>
                </c:pt>
                <c:pt idx="3">
                  <c:v>0.39976047211771554</c:v>
                </c:pt>
                <c:pt idx="4">
                  <c:v>0.46489119167635223</c:v>
                </c:pt>
                <c:pt idx="5">
                  <c:v>0.016767310872177758</c:v>
                </c:pt>
                <c:pt idx="6">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0.005982980832951795</c:v>
                </c:pt>
                <c:pt idx="2">
                  <c:v>0.09475556456907686</c:v>
                </c:pt>
                <c:pt idx="3">
                  <c:v>0.028439093690432658</c:v>
                </c:pt>
                <c:pt idx="4">
                  <c:v>0.07509989132561243</c:v>
                </c:pt>
                <c:pt idx="5">
                  <c:v>0.08551731978846905</c:v>
                </c:pt>
                <c:pt idx="6">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2.659593210673726e-05</c:v>
                </c:pt>
                <c:pt idx="1">
                  <c:v>0.0018797458148500864</c:v>
                </c:pt>
                <c:pt idx="2">
                  <c:v>0.0002409641122004238</c:v>
                </c:pt>
                <c:pt idx="3">
                  <c:v>0.007238056330817469</c:v>
                </c:pt>
                <c:pt idx="4">
                  <c:v>0.008420148182227173</c:v>
                </c:pt>
                <c:pt idx="5">
                  <c:v>0.00030421608636078983</c:v>
                </c:pt>
                <c:pt idx="6">
                  <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0.051006066755415164</c:v>
                </c:pt>
                <c:pt idx="3">
                  <c:v>0.026441561849660927</c:v>
                </c:pt>
                <c:pt idx="4">
                  <c:v>0.08803960684853453</c:v>
                </c:pt>
                <c:pt idx="5">
                  <c:v>0.038898859553271804</c:v>
                </c:pt>
                <c:pt idx="6">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011265788422587115</c:v>
                </c:pt>
                <c:pt idx="1">
                  <c:v>0.007963701676534166</c:v>
                </c:pt>
                <c:pt idx="2">
                  <c:v>0.0010201826372318965</c:v>
                </c:pt>
                <c:pt idx="3">
                  <c:v>0.03066627222587233</c:v>
                </c:pt>
                <c:pt idx="4">
                  <c:v>0.035662555039106446</c:v>
                </c:pt>
                <c:pt idx="5">
                  <c:v>0.0012862475296222399</c:v>
                </c:pt>
                <c:pt idx="6">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0.05935285989812673</c:v>
                </c:pt>
                <c:pt idx="3">
                  <c:v>0.04056330411108755</c:v>
                </c:pt>
                <c:pt idx="4">
                  <c:v>0.09103779430939526</c:v>
                </c:pt>
                <c:pt idx="5">
                  <c:v>0.04323960295438646</c:v>
                </c:pt>
                <c:pt idx="6">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14685896170947494</c:v>
                </c:pt>
                <c:pt idx="1">
                  <c:v>0.10381350294445126</c:v>
                </c:pt>
                <c:pt idx="2">
                  <c:v>0.013298932772208446</c:v>
                </c:pt>
                <c:pt idx="3">
                  <c:v>0.39976047211771554</c:v>
                </c:pt>
                <c:pt idx="4">
                  <c:v>0.46489119167635223</c:v>
                </c:pt>
                <c:pt idx="5">
                  <c:v>0.016767310872177758</c:v>
                </c:pt>
                <c:pt idx="6">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0.04323960295438646</c:v>
                </c:pt>
                <c:pt idx="2">
                  <c:v>0.09103779430939526</c:v>
                </c:pt>
                <c:pt idx="3">
                  <c:v>0.04056330411108755</c:v>
                </c:pt>
                <c:pt idx="4">
                  <c:v>0.05935285989812673</c:v>
                </c:pt>
                <c:pt idx="5">
                  <c:v/>
                </c:pt>
                <c:pt idx="6">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2.659593210673726e-05</c:v>
                </c:pt>
                <c:pt idx="1">
                  <c:v>0.0018797458148500864</c:v>
                </c:pt>
                <c:pt idx="2">
                  <c:v>0.0002409641122004238</c:v>
                </c:pt>
                <c:pt idx="3">
                  <c:v>0.007238056330817469</c:v>
                </c:pt>
                <c:pt idx="4">
                  <c:v>0.008420148182227173</c:v>
                </c:pt>
                <c:pt idx="5">
                  <c:v>0.00030421608636078983</c:v>
                </c:pt>
                <c:pt idx="6">
                  <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
                </c:pt>
                <c:pt idx="1">
                  <c:v/>
                </c:pt>
                <c:pt idx="2">
                  <c:v/>
                </c:pt>
                <c:pt idx="3">
                  <c:v>0.018781125735843562</c:v>
                </c:pt>
                <c:pt idx="4">
                  <c:v>0.06019637768951337</c:v>
                </c:pt>
                <c:pt idx="5">
                  <c:v>0.014280907872894471</c:v>
                </c:pt>
                <c:pt idx="6">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8</c:f>
              <c:strCache>
                <c:ptCount val="7"/>
                <c:pt idx="0">
                  <c:v>550+ GR</c:v>
                </c:pt>
                <c:pt idx="1">
                  <c:v>450-549 GR</c:v>
                </c:pt>
                <c:pt idx="2">
                  <c:v>350-449 GR</c:v>
                </c:pt>
                <c:pt idx="3">
                  <c:v>250-349 GR</c:v>
                </c:pt>
                <c:pt idx="4">
                  <c:v>150-249 GR</c:v>
                </c:pt>
                <c:pt idx="5">
                  <c:v>50-149 GR</c:v>
                </c:pt>
                <c:pt idx="6">
                  <c:v>0-49 GR</c:v>
                </c:pt>
              </c:strCache>
            </c:strRef>
          </c:cat>
          <c:val>
            <c:numRef>
              <c:f>Sheet1!$B$2:$B$8</c:f>
              <c:numCache>
                <c:formatCode>General</c:formatCode>
                <c:ptCount val="7"/>
                <c:pt idx="0">
                  <c:v>0.00011265788422587115</c:v>
                </c:pt>
                <c:pt idx="1">
                  <c:v>0.007963701676534166</c:v>
                </c:pt>
                <c:pt idx="2">
                  <c:v>0.0010201826372318965</c:v>
                </c:pt>
                <c:pt idx="3">
                  <c:v>0.03066627222587233</c:v>
                </c:pt>
                <c:pt idx="4">
                  <c:v>0.035662555039106446</c:v>
                </c:pt>
                <c:pt idx="5">
                  <c:v>0.0012862475296222399</c:v>
                </c:pt>
                <c:pt idx="6">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08/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9/8/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9/8/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9/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9/8/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9/8/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9/8/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9/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9/8/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9/8/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9/8/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xml"/><Relationship Id="rId7" Type="http://schemas.openxmlformats.org/officeDocument/2006/relationships/chart" Target="../charts/chart2.xml"/><Relationship Id="rId8" Type="http://schemas.openxmlformats.org/officeDocument/2006/relationships/chart" Target="../charts/chart3.xml"/><Relationship Id="rId9" Type="http://schemas.openxmlformats.org/officeDocument/2006/relationships/chart" Target="../charts/chart4.xml"/><Relationship Id="rId10" Type="http://schemas.openxmlformats.org/officeDocument/2006/relationships/chart" Target="../charts/chart5.xml"/><Relationship Id="rId11" Type="http://schemas.openxmlformats.org/officeDocument/2006/relationships/chart" Target="../charts/chart6.xml"/><Relationship Id="rId12" Type="http://schemas.openxmlformats.org/officeDocument/2006/relationships/chart" Target="../charts/chart7.xml"/><Relationship Id="rId13" Type="http://schemas.openxmlformats.org/officeDocument/2006/relationships/chart" Target="../charts/chart8.xml"/><Relationship Id="rId14" Type="http://schemas.openxmlformats.org/officeDocument/2006/relationships/chart" Target="../charts/chart9.xml"/><Relationship Id="rId15" Type="http://schemas.openxmlformats.org/officeDocument/2006/relationships/chart" Target="../charts/chart10.xml"/><Relationship Id="rId16" Type="http://schemas.openxmlformats.org/officeDocument/2006/relationships/chart" Target="../charts/chart11.xml"/><Relationship Id="rId17" Type="http://schemas.openxmlformats.org/officeDocument/2006/relationships/chart" Target="../charts/chart12.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9.xml"/><Relationship Id="rId7" Type="http://schemas.openxmlformats.org/officeDocument/2006/relationships/chart" Target="../charts/chart110.xml"/><Relationship Id="rId8" Type="http://schemas.openxmlformats.org/officeDocument/2006/relationships/chart" Target="../charts/chart111.xml"/><Relationship Id="rId9" Type="http://schemas.openxmlformats.org/officeDocument/2006/relationships/chart" Target="../charts/chart112.xml"/><Relationship Id="rId10" Type="http://schemas.openxmlformats.org/officeDocument/2006/relationships/chart" Target="../charts/chart113.xml"/><Relationship Id="rId11" Type="http://schemas.openxmlformats.org/officeDocument/2006/relationships/chart" Target="../charts/chart114.xml"/><Relationship Id="rId12" Type="http://schemas.openxmlformats.org/officeDocument/2006/relationships/chart" Target="../charts/chart115.xml"/><Relationship Id="rId13" Type="http://schemas.openxmlformats.org/officeDocument/2006/relationships/chart" Target="../charts/chart116.xml"/><Relationship Id="rId14" Type="http://schemas.openxmlformats.org/officeDocument/2006/relationships/chart" Target="../charts/chart117.xml"/><Relationship Id="rId15" Type="http://schemas.openxmlformats.org/officeDocument/2006/relationships/chart" Target="../charts/chart118.xml"/><Relationship Id="rId16" Type="http://schemas.openxmlformats.org/officeDocument/2006/relationships/chart" Target="../charts/chart119.xml"/><Relationship Id="rId17" Type="http://schemas.openxmlformats.org/officeDocument/2006/relationships/chart" Target="../charts/chart120.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notesSlide" Target="../notesSlides/notesSlide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1.xml"/><Relationship Id="rId7" Type="http://schemas.openxmlformats.org/officeDocument/2006/relationships/chart" Target="../charts/chart122.xml"/><Relationship Id="rId8" Type="http://schemas.openxmlformats.org/officeDocument/2006/relationships/chart" Target="../charts/chart123.xml"/><Relationship Id="rId9" Type="http://schemas.openxmlformats.org/officeDocument/2006/relationships/chart" Target="../charts/chart124.xml"/><Relationship Id="rId10" Type="http://schemas.openxmlformats.org/officeDocument/2006/relationships/chart" Target="../charts/chart125.xml"/><Relationship Id="rId11" Type="http://schemas.openxmlformats.org/officeDocument/2006/relationships/chart" Target="../charts/chart126.xml"/><Relationship Id="rId12" Type="http://schemas.openxmlformats.org/officeDocument/2006/relationships/chart" Target="../charts/chart127.xml"/><Relationship Id="rId13" Type="http://schemas.openxmlformats.org/officeDocument/2006/relationships/chart" Target="../charts/chart128.xml"/><Relationship Id="rId14" Type="http://schemas.openxmlformats.org/officeDocument/2006/relationships/chart" Target="../charts/chart129.xml"/><Relationship Id="rId15" Type="http://schemas.openxmlformats.org/officeDocument/2006/relationships/chart" Target="../charts/chart130.xml"/><Relationship Id="rId16" Type="http://schemas.openxmlformats.org/officeDocument/2006/relationships/chart" Target="../charts/chart131.xml"/><Relationship Id="rId17" Type="http://schemas.openxmlformats.org/officeDocument/2006/relationships/chart" Target="../charts/chart132.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notesSlide" Target="../notesSlides/notesSlide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3.xml"/><Relationship Id="rId7" Type="http://schemas.openxmlformats.org/officeDocument/2006/relationships/chart" Target="../charts/chart134.xml"/><Relationship Id="rId8" Type="http://schemas.openxmlformats.org/officeDocument/2006/relationships/chart" Target="../charts/chart135.xml"/><Relationship Id="rId9" Type="http://schemas.openxmlformats.org/officeDocument/2006/relationships/chart" Target="../charts/chart136.xml"/><Relationship Id="rId10" Type="http://schemas.openxmlformats.org/officeDocument/2006/relationships/chart" Target="../charts/chart137.xml"/><Relationship Id="rId11" Type="http://schemas.openxmlformats.org/officeDocument/2006/relationships/chart" Target="../charts/chart138.xml"/><Relationship Id="rId12" Type="http://schemas.openxmlformats.org/officeDocument/2006/relationships/chart" Target="../charts/chart139.xml"/><Relationship Id="rId13" Type="http://schemas.openxmlformats.org/officeDocument/2006/relationships/chart" Target="../charts/chart140.xml"/><Relationship Id="rId14" Type="http://schemas.openxmlformats.org/officeDocument/2006/relationships/chart" Target="../charts/chart141.xml"/><Relationship Id="rId15" Type="http://schemas.openxmlformats.org/officeDocument/2006/relationships/chart" Target="../charts/chart142.xml"/><Relationship Id="rId16" Type="http://schemas.openxmlformats.org/officeDocument/2006/relationships/chart" Target="../charts/chart143.xml"/><Relationship Id="rId17" Type="http://schemas.openxmlformats.org/officeDocument/2006/relationships/chart" Target="../charts/chart144.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notesSlide" Target="../notesSlides/notesSlide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5.xml"/><Relationship Id="rId7" Type="http://schemas.openxmlformats.org/officeDocument/2006/relationships/chart" Target="../charts/chart146.xml"/><Relationship Id="rId8" Type="http://schemas.openxmlformats.org/officeDocument/2006/relationships/chart" Target="../charts/chart147.xml"/><Relationship Id="rId9" Type="http://schemas.openxmlformats.org/officeDocument/2006/relationships/chart" Target="../charts/chart148.xml"/><Relationship Id="rId10" Type="http://schemas.openxmlformats.org/officeDocument/2006/relationships/chart" Target="../charts/chart149.xml"/><Relationship Id="rId11" Type="http://schemas.openxmlformats.org/officeDocument/2006/relationships/chart" Target="../charts/chart150.xml"/><Relationship Id="rId12" Type="http://schemas.openxmlformats.org/officeDocument/2006/relationships/chart" Target="../charts/chart151.xml"/><Relationship Id="rId13" Type="http://schemas.openxmlformats.org/officeDocument/2006/relationships/chart" Target="../charts/chart152.xml"/><Relationship Id="rId14" Type="http://schemas.openxmlformats.org/officeDocument/2006/relationships/chart" Target="../charts/chart153.xml"/><Relationship Id="rId15" Type="http://schemas.openxmlformats.org/officeDocument/2006/relationships/chart" Target="../charts/chart154.xml"/><Relationship Id="rId16" Type="http://schemas.openxmlformats.org/officeDocument/2006/relationships/chart" Target="../charts/chart155.xml"/><Relationship Id="rId17" Type="http://schemas.openxmlformats.org/officeDocument/2006/relationships/chart" Target="../charts/chart156.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notesSlide" Target="../notesSlides/notesSlide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7.xml"/><Relationship Id="rId7" Type="http://schemas.openxmlformats.org/officeDocument/2006/relationships/chart" Target="../charts/chart158.xml"/><Relationship Id="rId8" Type="http://schemas.openxmlformats.org/officeDocument/2006/relationships/chart" Target="../charts/chart159.xml"/><Relationship Id="rId9" Type="http://schemas.openxmlformats.org/officeDocument/2006/relationships/chart" Target="../charts/chart160.xml"/><Relationship Id="rId10" Type="http://schemas.openxmlformats.org/officeDocument/2006/relationships/chart" Target="../charts/chart161.xml"/><Relationship Id="rId11" Type="http://schemas.openxmlformats.org/officeDocument/2006/relationships/chart" Target="../charts/chart162.xml"/><Relationship Id="rId12" Type="http://schemas.openxmlformats.org/officeDocument/2006/relationships/chart" Target="../charts/chart163.xml"/><Relationship Id="rId13" Type="http://schemas.openxmlformats.org/officeDocument/2006/relationships/chart" Target="../charts/chart164.xml"/><Relationship Id="rId14" Type="http://schemas.openxmlformats.org/officeDocument/2006/relationships/chart" Target="../charts/chart165.xml"/><Relationship Id="rId15" Type="http://schemas.openxmlformats.org/officeDocument/2006/relationships/chart" Target="../charts/chart166.xml"/><Relationship Id="rId16" Type="http://schemas.openxmlformats.org/officeDocument/2006/relationships/chart" Target="../charts/chart167.xml"/><Relationship Id="rId17" Type="http://schemas.openxmlformats.org/officeDocument/2006/relationships/chart" Target="../charts/chart168.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notesSlide" Target="../notesSlides/notesSlide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9.xml"/><Relationship Id="rId7" Type="http://schemas.openxmlformats.org/officeDocument/2006/relationships/chart" Target="../charts/chart170.xml"/><Relationship Id="rId8" Type="http://schemas.openxmlformats.org/officeDocument/2006/relationships/chart" Target="../charts/chart171.xml"/><Relationship Id="rId9" Type="http://schemas.openxmlformats.org/officeDocument/2006/relationships/chart" Target="../charts/chart172.xml"/><Relationship Id="rId10" Type="http://schemas.openxmlformats.org/officeDocument/2006/relationships/chart" Target="../charts/chart173.xml"/><Relationship Id="rId11" Type="http://schemas.openxmlformats.org/officeDocument/2006/relationships/chart" Target="../charts/chart174.xml"/><Relationship Id="rId12" Type="http://schemas.openxmlformats.org/officeDocument/2006/relationships/chart" Target="../charts/chart175.xml"/><Relationship Id="rId13" Type="http://schemas.openxmlformats.org/officeDocument/2006/relationships/chart" Target="../charts/chart176.xml"/><Relationship Id="rId14" Type="http://schemas.openxmlformats.org/officeDocument/2006/relationships/chart" Target="../charts/chart177.xml"/><Relationship Id="rId15" Type="http://schemas.openxmlformats.org/officeDocument/2006/relationships/chart" Target="../charts/chart178.xml"/><Relationship Id="rId16" Type="http://schemas.openxmlformats.org/officeDocument/2006/relationships/chart" Target="../charts/chart179.xml"/><Relationship Id="rId17" Type="http://schemas.openxmlformats.org/officeDocument/2006/relationships/chart" Target="../charts/chart180.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1.xml"/><Relationship Id="rId7" Type="http://schemas.openxmlformats.org/officeDocument/2006/relationships/chart" Target="../charts/chart182.xml"/><Relationship Id="rId8" Type="http://schemas.openxmlformats.org/officeDocument/2006/relationships/chart" Target="../charts/chart183.xml"/><Relationship Id="rId9" Type="http://schemas.openxmlformats.org/officeDocument/2006/relationships/chart" Target="../charts/chart184.xml"/><Relationship Id="rId10" Type="http://schemas.openxmlformats.org/officeDocument/2006/relationships/chart" Target="../charts/chart185.xml"/><Relationship Id="rId11" Type="http://schemas.openxmlformats.org/officeDocument/2006/relationships/chart" Target="../charts/chart186.xml"/><Relationship Id="rId12" Type="http://schemas.openxmlformats.org/officeDocument/2006/relationships/chart" Target="../charts/chart187.xml"/><Relationship Id="rId13" Type="http://schemas.openxmlformats.org/officeDocument/2006/relationships/chart" Target="../charts/chart188.xml"/><Relationship Id="rId14" Type="http://schemas.openxmlformats.org/officeDocument/2006/relationships/chart" Target="../charts/chart189.xml"/><Relationship Id="rId15" Type="http://schemas.openxmlformats.org/officeDocument/2006/relationships/chart" Target="../charts/chart190.xml"/><Relationship Id="rId16" Type="http://schemas.openxmlformats.org/officeDocument/2006/relationships/chart" Target="../charts/chart191.xml"/><Relationship Id="rId17" Type="http://schemas.openxmlformats.org/officeDocument/2006/relationships/chart" Target="../charts/chart192.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notesSlide" Target="../notesSlides/notesSlide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3.xml"/><Relationship Id="rId7" Type="http://schemas.openxmlformats.org/officeDocument/2006/relationships/chart" Target="../charts/chart194.xml"/><Relationship Id="rId8" Type="http://schemas.openxmlformats.org/officeDocument/2006/relationships/chart" Target="../charts/chart195.xml"/><Relationship Id="rId9" Type="http://schemas.openxmlformats.org/officeDocument/2006/relationships/chart" Target="../charts/chart196.xml"/><Relationship Id="rId10" Type="http://schemas.openxmlformats.org/officeDocument/2006/relationships/chart" Target="../charts/chart197.xml"/><Relationship Id="rId11" Type="http://schemas.openxmlformats.org/officeDocument/2006/relationships/chart" Target="../charts/chart198.xml"/><Relationship Id="rId12" Type="http://schemas.openxmlformats.org/officeDocument/2006/relationships/chart" Target="../charts/chart199.xml"/><Relationship Id="rId13" Type="http://schemas.openxmlformats.org/officeDocument/2006/relationships/chart" Target="../charts/chart200.xml"/><Relationship Id="rId14" Type="http://schemas.openxmlformats.org/officeDocument/2006/relationships/chart" Target="../charts/chart201.xml"/><Relationship Id="rId15" Type="http://schemas.openxmlformats.org/officeDocument/2006/relationships/chart" Target="../charts/chart202.xml"/><Relationship Id="rId16" Type="http://schemas.openxmlformats.org/officeDocument/2006/relationships/chart" Target="../charts/chart203.xml"/><Relationship Id="rId17" Type="http://schemas.openxmlformats.org/officeDocument/2006/relationships/chart" Target="../charts/chart204.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notesSlide" Target="../notesSlides/notesSlide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5.xml"/><Relationship Id="rId7" Type="http://schemas.openxmlformats.org/officeDocument/2006/relationships/chart" Target="../charts/chart206.xml"/><Relationship Id="rId8" Type="http://schemas.openxmlformats.org/officeDocument/2006/relationships/chart" Target="../charts/chart207.xml"/><Relationship Id="rId9" Type="http://schemas.openxmlformats.org/officeDocument/2006/relationships/chart" Target="../charts/chart208.xml"/><Relationship Id="rId10" Type="http://schemas.openxmlformats.org/officeDocument/2006/relationships/chart" Target="../charts/chart209.xml"/><Relationship Id="rId11" Type="http://schemas.openxmlformats.org/officeDocument/2006/relationships/chart" Target="../charts/chart210.xml"/><Relationship Id="rId12" Type="http://schemas.openxmlformats.org/officeDocument/2006/relationships/chart" Target="../charts/chart211.xml"/><Relationship Id="rId13" Type="http://schemas.openxmlformats.org/officeDocument/2006/relationships/chart" Target="../charts/chart212.xml"/><Relationship Id="rId14" Type="http://schemas.openxmlformats.org/officeDocument/2006/relationships/chart" Target="../charts/chart213.xml"/><Relationship Id="rId15" Type="http://schemas.openxmlformats.org/officeDocument/2006/relationships/chart" Target="../charts/chart214.xml"/><Relationship Id="rId16" Type="http://schemas.openxmlformats.org/officeDocument/2006/relationships/chart" Target="../charts/chart215.xml"/><Relationship Id="rId17" Type="http://schemas.openxmlformats.org/officeDocument/2006/relationships/chart" Target="../charts/chart216.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notesSlide" Target="../notesSlides/notesSlide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7.xml"/><Relationship Id="rId7" Type="http://schemas.openxmlformats.org/officeDocument/2006/relationships/chart" Target="../charts/chart218.xml"/><Relationship Id="rId8" Type="http://schemas.openxmlformats.org/officeDocument/2006/relationships/chart" Target="../charts/chart219.xml"/><Relationship Id="rId9" Type="http://schemas.openxmlformats.org/officeDocument/2006/relationships/chart" Target="../charts/chart220.xml"/><Relationship Id="rId10" Type="http://schemas.openxmlformats.org/officeDocument/2006/relationships/chart" Target="../charts/chart221.xml"/><Relationship Id="rId11" Type="http://schemas.openxmlformats.org/officeDocument/2006/relationships/chart" Target="../charts/chart222.xml"/><Relationship Id="rId12" Type="http://schemas.openxmlformats.org/officeDocument/2006/relationships/chart" Target="../charts/chart223.xml"/><Relationship Id="rId13" Type="http://schemas.openxmlformats.org/officeDocument/2006/relationships/chart" Target="../charts/chart224.xml"/><Relationship Id="rId14" Type="http://schemas.openxmlformats.org/officeDocument/2006/relationships/chart" Target="../charts/chart225.xml"/><Relationship Id="rId15" Type="http://schemas.openxmlformats.org/officeDocument/2006/relationships/chart" Target="../charts/chart226.xml"/><Relationship Id="rId16" Type="http://schemas.openxmlformats.org/officeDocument/2006/relationships/chart" Target="../charts/chart227.xml"/><Relationship Id="rId17" Type="http://schemas.openxmlformats.org/officeDocument/2006/relationships/chart" Target="../charts/chart228.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xml"/><Relationship Id="rId7" Type="http://schemas.openxmlformats.org/officeDocument/2006/relationships/chart" Target="../charts/chart14.xml"/><Relationship Id="rId8" Type="http://schemas.openxmlformats.org/officeDocument/2006/relationships/chart" Target="../charts/chart15.xml"/><Relationship Id="rId9" Type="http://schemas.openxmlformats.org/officeDocument/2006/relationships/chart" Target="../charts/chart16.xml"/><Relationship Id="rId10" Type="http://schemas.openxmlformats.org/officeDocument/2006/relationships/chart" Target="../charts/chart17.xml"/><Relationship Id="rId11" Type="http://schemas.openxmlformats.org/officeDocument/2006/relationships/chart" Target="../charts/chart18.xml"/><Relationship Id="rId12" Type="http://schemas.openxmlformats.org/officeDocument/2006/relationships/chart" Target="../charts/chart19.xml"/><Relationship Id="rId13" Type="http://schemas.openxmlformats.org/officeDocument/2006/relationships/chart" Target="../charts/chart20.xml"/><Relationship Id="rId14" Type="http://schemas.openxmlformats.org/officeDocument/2006/relationships/chart" Target="../charts/chart21.xml"/><Relationship Id="rId15" Type="http://schemas.openxmlformats.org/officeDocument/2006/relationships/chart" Target="../charts/chart22.xml"/><Relationship Id="rId16" Type="http://schemas.openxmlformats.org/officeDocument/2006/relationships/chart" Target="../charts/chart23.xml"/><Relationship Id="rId17" Type="http://schemas.openxmlformats.org/officeDocument/2006/relationships/chart" Target="../charts/chart24.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notesSlide" Target="../notesSlides/notesSlide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9.xml"/><Relationship Id="rId7" Type="http://schemas.openxmlformats.org/officeDocument/2006/relationships/chart" Target="../charts/chart230.xml"/><Relationship Id="rId8" Type="http://schemas.openxmlformats.org/officeDocument/2006/relationships/chart" Target="../charts/chart231.xml"/><Relationship Id="rId9" Type="http://schemas.openxmlformats.org/officeDocument/2006/relationships/chart" Target="../charts/chart232.xml"/><Relationship Id="rId10" Type="http://schemas.openxmlformats.org/officeDocument/2006/relationships/chart" Target="../charts/chart233.xml"/><Relationship Id="rId11" Type="http://schemas.openxmlformats.org/officeDocument/2006/relationships/chart" Target="../charts/chart234.xml"/><Relationship Id="rId12" Type="http://schemas.openxmlformats.org/officeDocument/2006/relationships/chart" Target="../charts/chart235.xml"/><Relationship Id="rId13" Type="http://schemas.openxmlformats.org/officeDocument/2006/relationships/chart" Target="../charts/chart236.xml"/><Relationship Id="rId14" Type="http://schemas.openxmlformats.org/officeDocument/2006/relationships/chart" Target="../charts/chart237.xml"/><Relationship Id="rId15" Type="http://schemas.openxmlformats.org/officeDocument/2006/relationships/chart" Target="../charts/chart238.xml"/><Relationship Id="rId16" Type="http://schemas.openxmlformats.org/officeDocument/2006/relationships/chart" Target="../charts/chart239.xml"/><Relationship Id="rId17" Type="http://schemas.openxmlformats.org/officeDocument/2006/relationships/chart" Target="../charts/chart24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notesSlide" Target="../notesSlides/notesSlide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1.xml"/><Relationship Id="rId7" Type="http://schemas.openxmlformats.org/officeDocument/2006/relationships/chart" Target="../charts/chart242.xml"/><Relationship Id="rId8" Type="http://schemas.openxmlformats.org/officeDocument/2006/relationships/chart" Target="../charts/chart243.xml"/><Relationship Id="rId9" Type="http://schemas.openxmlformats.org/officeDocument/2006/relationships/chart" Target="../charts/chart244.xml"/><Relationship Id="rId10" Type="http://schemas.openxmlformats.org/officeDocument/2006/relationships/chart" Target="../charts/chart245.xml"/><Relationship Id="rId11" Type="http://schemas.openxmlformats.org/officeDocument/2006/relationships/chart" Target="../charts/chart246.xml"/><Relationship Id="rId12" Type="http://schemas.openxmlformats.org/officeDocument/2006/relationships/chart" Target="../charts/chart247.xml"/><Relationship Id="rId13" Type="http://schemas.openxmlformats.org/officeDocument/2006/relationships/chart" Target="../charts/chart248.xml"/><Relationship Id="rId14" Type="http://schemas.openxmlformats.org/officeDocument/2006/relationships/chart" Target="../charts/chart249.xml"/><Relationship Id="rId15" Type="http://schemas.openxmlformats.org/officeDocument/2006/relationships/chart" Target="../charts/chart250.xml"/><Relationship Id="rId16" Type="http://schemas.openxmlformats.org/officeDocument/2006/relationships/chart" Target="../charts/chart251.xml"/><Relationship Id="rId17" Type="http://schemas.openxmlformats.org/officeDocument/2006/relationships/chart" Target="../charts/chart252.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notesSlide" Target="../notesSlides/notesSlide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3.xml"/><Relationship Id="rId7" Type="http://schemas.openxmlformats.org/officeDocument/2006/relationships/chart" Target="../charts/chart254.xml"/><Relationship Id="rId8" Type="http://schemas.openxmlformats.org/officeDocument/2006/relationships/chart" Target="../charts/chart255.xml"/><Relationship Id="rId9" Type="http://schemas.openxmlformats.org/officeDocument/2006/relationships/chart" Target="../charts/chart256.xml"/><Relationship Id="rId10" Type="http://schemas.openxmlformats.org/officeDocument/2006/relationships/chart" Target="../charts/chart257.xml"/><Relationship Id="rId11" Type="http://schemas.openxmlformats.org/officeDocument/2006/relationships/chart" Target="../charts/chart258.xml"/><Relationship Id="rId12" Type="http://schemas.openxmlformats.org/officeDocument/2006/relationships/chart" Target="../charts/chart259.xml"/><Relationship Id="rId13" Type="http://schemas.openxmlformats.org/officeDocument/2006/relationships/chart" Target="../charts/chart260.xml"/><Relationship Id="rId14" Type="http://schemas.openxmlformats.org/officeDocument/2006/relationships/chart" Target="../charts/chart261.xml"/><Relationship Id="rId15" Type="http://schemas.openxmlformats.org/officeDocument/2006/relationships/chart" Target="../charts/chart262.xml"/><Relationship Id="rId16" Type="http://schemas.openxmlformats.org/officeDocument/2006/relationships/chart" Target="../charts/chart263.xml"/><Relationship Id="rId17" Type="http://schemas.openxmlformats.org/officeDocument/2006/relationships/chart" Target="../charts/chart264.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notesSlide" Target="../notesSlides/notesSlide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5.xml"/><Relationship Id="rId7" Type="http://schemas.openxmlformats.org/officeDocument/2006/relationships/chart" Target="../charts/chart266.xml"/><Relationship Id="rId8" Type="http://schemas.openxmlformats.org/officeDocument/2006/relationships/chart" Target="../charts/chart267.xml"/><Relationship Id="rId9" Type="http://schemas.openxmlformats.org/officeDocument/2006/relationships/chart" Target="../charts/chart268.xml"/><Relationship Id="rId10" Type="http://schemas.openxmlformats.org/officeDocument/2006/relationships/chart" Target="../charts/chart269.xml"/><Relationship Id="rId11" Type="http://schemas.openxmlformats.org/officeDocument/2006/relationships/chart" Target="../charts/chart270.xml"/><Relationship Id="rId12" Type="http://schemas.openxmlformats.org/officeDocument/2006/relationships/chart" Target="../charts/chart271.xml"/><Relationship Id="rId13" Type="http://schemas.openxmlformats.org/officeDocument/2006/relationships/chart" Target="../charts/chart272.xml"/><Relationship Id="rId14" Type="http://schemas.openxmlformats.org/officeDocument/2006/relationships/chart" Target="../charts/chart273.xml"/><Relationship Id="rId15" Type="http://schemas.openxmlformats.org/officeDocument/2006/relationships/chart" Target="../charts/chart274.xml"/><Relationship Id="rId16" Type="http://schemas.openxmlformats.org/officeDocument/2006/relationships/chart" Target="../charts/chart275.xml"/><Relationship Id="rId17" Type="http://schemas.openxmlformats.org/officeDocument/2006/relationships/chart" Target="../charts/chart276.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notesSlide" Target="../notesSlides/notesSlide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7.xml"/><Relationship Id="rId7" Type="http://schemas.openxmlformats.org/officeDocument/2006/relationships/chart" Target="../charts/chart278.xml"/><Relationship Id="rId8" Type="http://schemas.openxmlformats.org/officeDocument/2006/relationships/chart" Target="../charts/chart279.xml"/><Relationship Id="rId9" Type="http://schemas.openxmlformats.org/officeDocument/2006/relationships/chart" Target="../charts/chart280.xml"/><Relationship Id="rId10" Type="http://schemas.openxmlformats.org/officeDocument/2006/relationships/chart" Target="../charts/chart281.xml"/><Relationship Id="rId11" Type="http://schemas.openxmlformats.org/officeDocument/2006/relationships/chart" Target="../charts/chart282.xml"/><Relationship Id="rId12" Type="http://schemas.openxmlformats.org/officeDocument/2006/relationships/chart" Target="../charts/chart283.xml"/><Relationship Id="rId13" Type="http://schemas.openxmlformats.org/officeDocument/2006/relationships/chart" Target="../charts/chart284.xml"/><Relationship Id="rId14" Type="http://schemas.openxmlformats.org/officeDocument/2006/relationships/chart" Target="../charts/chart285.xml"/><Relationship Id="rId15" Type="http://schemas.openxmlformats.org/officeDocument/2006/relationships/chart" Target="../charts/chart286.xml"/><Relationship Id="rId16" Type="http://schemas.openxmlformats.org/officeDocument/2006/relationships/chart" Target="../charts/chart287.xml"/><Relationship Id="rId17" Type="http://schemas.openxmlformats.org/officeDocument/2006/relationships/chart" Target="../charts/chart288.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notesSlide" Target="../notesSlides/notesSlide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9.xml"/><Relationship Id="rId7" Type="http://schemas.openxmlformats.org/officeDocument/2006/relationships/chart" Target="../charts/chart290.xml"/><Relationship Id="rId8" Type="http://schemas.openxmlformats.org/officeDocument/2006/relationships/chart" Target="../charts/chart291.xml"/><Relationship Id="rId9" Type="http://schemas.openxmlformats.org/officeDocument/2006/relationships/chart" Target="../charts/chart292.xml"/><Relationship Id="rId10" Type="http://schemas.openxmlformats.org/officeDocument/2006/relationships/chart" Target="../charts/chart293.xml"/><Relationship Id="rId11" Type="http://schemas.openxmlformats.org/officeDocument/2006/relationships/chart" Target="../charts/chart294.xml"/><Relationship Id="rId12" Type="http://schemas.openxmlformats.org/officeDocument/2006/relationships/chart" Target="../charts/chart295.xml"/><Relationship Id="rId13" Type="http://schemas.openxmlformats.org/officeDocument/2006/relationships/chart" Target="../charts/chart296.xml"/><Relationship Id="rId14" Type="http://schemas.openxmlformats.org/officeDocument/2006/relationships/chart" Target="../charts/chart297.xml"/><Relationship Id="rId15" Type="http://schemas.openxmlformats.org/officeDocument/2006/relationships/chart" Target="../charts/chart298.xml"/><Relationship Id="rId16" Type="http://schemas.openxmlformats.org/officeDocument/2006/relationships/chart" Target="../charts/chart299.xml"/><Relationship Id="rId17" Type="http://schemas.openxmlformats.org/officeDocument/2006/relationships/chart" Target="../charts/chart300.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notesSlide" Target="../notesSlides/notesSlide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1.xml"/><Relationship Id="rId7" Type="http://schemas.openxmlformats.org/officeDocument/2006/relationships/chart" Target="../charts/chart302.xml"/><Relationship Id="rId8" Type="http://schemas.openxmlformats.org/officeDocument/2006/relationships/chart" Target="../charts/chart303.xml"/><Relationship Id="rId9" Type="http://schemas.openxmlformats.org/officeDocument/2006/relationships/chart" Target="../charts/chart304.xml"/><Relationship Id="rId10" Type="http://schemas.openxmlformats.org/officeDocument/2006/relationships/chart" Target="../charts/chart305.xml"/><Relationship Id="rId11" Type="http://schemas.openxmlformats.org/officeDocument/2006/relationships/chart" Target="../charts/chart306.xml"/><Relationship Id="rId12" Type="http://schemas.openxmlformats.org/officeDocument/2006/relationships/chart" Target="../charts/chart307.xml"/><Relationship Id="rId13" Type="http://schemas.openxmlformats.org/officeDocument/2006/relationships/chart" Target="../charts/chart308.xml"/><Relationship Id="rId14" Type="http://schemas.openxmlformats.org/officeDocument/2006/relationships/chart" Target="../charts/chart309.xml"/><Relationship Id="rId15" Type="http://schemas.openxmlformats.org/officeDocument/2006/relationships/chart" Target="../charts/chart310.xml"/><Relationship Id="rId16" Type="http://schemas.openxmlformats.org/officeDocument/2006/relationships/chart" Target="../charts/chart311.xml"/><Relationship Id="rId17" Type="http://schemas.openxmlformats.org/officeDocument/2006/relationships/chart" Target="../charts/chart312.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notesSlide" Target="../notesSlides/notesSlide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3.xml"/><Relationship Id="rId7" Type="http://schemas.openxmlformats.org/officeDocument/2006/relationships/chart" Target="../charts/chart314.xml"/><Relationship Id="rId8" Type="http://schemas.openxmlformats.org/officeDocument/2006/relationships/chart" Target="../charts/chart315.xml"/><Relationship Id="rId9" Type="http://schemas.openxmlformats.org/officeDocument/2006/relationships/chart" Target="../charts/chart316.xml"/><Relationship Id="rId10" Type="http://schemas.openxmlformats.org/officeDocument/2006/relationships/chart" Target="../charts/chart317.xml"/><Relationship Id="rId11" Type="http://schemas.openxmlformats.org/officeDocument/2006/relationships/chart" Target="../charts/chart318.xml"/><Relationship Id="rId12" Type="http://schemas.openxmlformats.org/officeDocument/2006/relationships/chart" Target="../charts/chart319.xml"/><Relationship Id="rId13" Type="http://schemas.openxmlformats.org/officeDocument/2006/relationships/chart" Target="../charts/chart320.xml"/><Relationship Id="rId14" Type="http://schemas.openxmlformats.org/officeDocument/2006/relationships/chart" Target="../charts/chart321.xml"/><Relationship Id="rId15" Type="http://schemas.openxmlformats.org/officeDocument/2006/relationships/chart" Target="../charts/chart322.xml"/><Relationship Id="rId16" Type="http://schemas.openxmlformats.org/officeDocument/2006/relationships/chart" Target="../charts/chart323.xml"/><Relationship Id="rId17" Type="http://schemas.openxmlformats.org/officeDocument/2006/relationships/chart" Target="../charts/chart324.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xml"/><Relationship Id="rId7" Type="http://schemas.openxmlformats.org/officeDocument/2006/relationships/chart" Target="../charts/chart26.xml"/><Relationship Id="rId8" Type="http://schemas.openxmlformats.org/officeDocument/2006/relationships/chart" Target="../charts/chart27.xml"/><Relationship Id="rId9" Type="http://schemas.openxmlformats.org/officeDocument/2006/relationships/chart" Target="../charts/chart28.xml"/><Relationship Id="rId10" Type="http://schemas.openxmlformats.org/officeDocument/2006/relationships/chart" Target="../charts/chart29.xml"/><Relationship Id="rId11" Type="http://schemas.openxmlformats.org/officeDocument/2006/relationships/chart" Target="../charts/chart30.xml"/><Relationship Id="rId12" Type="http://schemas.openxmlformats.org/officeDocument/2006/relationships/chart" Target="../charts/chart31.xml"/><Relationship Id="rId13" Type="http://schemas.openxmlformats.org/officeDocument/2006/relationships/chart" Target="../charts/chart32.xml"/><Relationship Id="rId14" Type="http://schemas.openxmlformats.org/officeDocument/2006/relationships/chart" Target="../charts/chart33.xml"/><Relationship Id="rId15" Type="http://schemas.openxmlformats.org/officeDocument/2006/relationships/chart" Target="../charts/chart34.xml"/><Relationship Id="rId16" Type="http://schemas.openxmlformats.org/officeDocument/2006/relationships/chart" Target="../charts/chart35.xml"/><Relationship Id="rId17" Type="http://schemas.openxmlformats.org/officeDocument/2006/relationships/chart" Target="../charts/chart36.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xml"/><Relationship Id="rId7" Type="http://schemas.openxmlformats.org/officeDocument/2006/relationships/chart" Target="../charts/chart38.xml"/><Relationship Id="rId8" Type="http://schemas.openxmlformats.org/officeDocument/2006/relationships/chart" Target="../charts/chart39.xml"/><Relationship Id="rId9" Type="http://schemas.openxmlformats.org/officeDocument/2006/relationships/chart" Target="../charts/chart40.xml"/><Relationship Id="rId10" Type="http://schemas.openxmlformats.org/officeDocument/2006/relationships/chart" Target="../charts/chart41.xml"/><Relationship Id="rId11" Type="http://schemas.openxmlformats.org/officeDocument/2006/relationships/chart" Target="../charts/chart42.xml"/><Relationship Id="rId12" Type="http://schemas.openxmlformats.org/officeDocument/2006/relationships/chart" Target="../charts/chart43.xml"/><Relationship Id="rId13" Type="http://schemas.openxmlformats.org/officeDocument/2006/relationships/chart" Target="../charts/chart44.xml"/><Relationship Id="rId14" Type="http://schemas.openxmlformats.org/officeDocument/2006/relationships/chart" Target="../charts/chart45.xml"/><Relationship Id="rId15" Type="http://schemas.openxmlformats.org/officeDocument/2006/relationships/chart" Target="../charts/chart46.xml"/><Relationship Id="rId16" Type="http://schemas.openxmlformats.org/officeDocument/2006/relationships/chart" Target="../charts/chart47.xml"/><Relationship Id="rId17" Type="http://schemas.openxmlformats.org/officeDocument/2006/relationships/chart" Target="../charts/chart48.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9.xml"/><Relationship Id="rId7" Type="http://schemas.openxmlformats.org/officeDocument/2006/relationships/chart" Target="../charts/chart50.xml"/><Relationship Id="rId8" Type="http://schemas.openxmlformats.org/officeDocument/2006/relationships/chart" Target="../charts/chart51.xml"/><Relationship Id="rId9" Type="http://schemas.openxmlformats.org/officeDocument/2006/relationships/chart" Target="../charts/chart52.xml"/><Relationship Id="rId10" Type="http://schemas.openxmlformats.org/officeDocument/2006/relationships/chart" Target="../charts/chart53.xml"/><Relationship Id="rId11" Type="http://schemas.openxmlformats.org/officeDocument/2006/relationships/chart" Target="../charts/chart54.xml"/><Relationship Id="rId12" Type="http://schemas.openxmlformats.org/officeDocument/2006/relationships/chart" Target="../charts/chart55.xml"/><Relationship Id="rId13" Type="http://schemas.openxmlformats.org/officeDocument/2006/relationships/chart" Target="../charts/chart56.xml"/><Relationship Id="rId14" Type="http://schemas.openxmlformats.org/officeDocument/2006/relationships/chart" Target="../charts/chart57.xml"/><Relationship Id="rId15" Type="http://schemas.openxmlformats.org/officeDocument/2006/relationships/chart" Target="../charts/chart58.xml"/><Relationship Id="rId16" Type="http://schemas.openxmlformats.org/officeDocument/2006/relationships/chart" Target="../charts/chart59.xml"/><Relationship Id="rId17" Type="http://schemas.openxmlformats.org/officeDocument/2006/relationships/chart" Target="../charts/chart60.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1.xml"/><Relationship Id="rId7" Type="http://schemas.openxmlformats.org/officeDocument/2006/relationships/chart" Target="../charts/chart62.xml"/><Relationship Id="rId8" Type="http://schemas.openxmlformats.org/officeDocument/2006/relationships/chart" Target="../charts/chart63.xml"/><Relationship Id="rId9" Type="http://schemas.openxmlformats.org/officeDocument/2006/relationships/chart" Target="../charts/chart64.xml"/><Relationship Id="rId10" Type="http://schemas.openxmlformats.org/officeDocument/2006/relationships/chart" Target="../charts/chart65.xml"/><Relationship Id="rId11" Type="http://schemas.openxmlformats.org/officeDocument/2006/relationships/chart" Target="../charts/chart66.xml"/><Relationship Id="rId12" Type="http://schemas.openxmlformats.org/officeDocument/2006/relationships/chart" Target="../charts/chart67.xml"/><Relationship Id="rId13" Type="http://schemas.openxmlformats.org/officeDocument/2006/relationships/chart" Target="../charts/chart68.xml"/><Relationship Id="rId14" Type="http://schemas.openxmlformats.org/officeDocument/2006/relationships/chart" Target="../charts/chart69.xml"/><Relationship Id="rId15" Type="http://schemas.openxmlformats.org/officeDocument/2006/relationships/chart" Target="../charts/chart70.xml"/><Relationship Id="rId16" Type="http://schemas.openxmlformats.org/officeDocument/2006/relationships/chart" Target="../charts/chart71.xml"/><Relationship Id="rId17" Type="http://schemas.openxmlformats.org/officeDocument/2006/relationships/chart" Target="../charts/chart72.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3.xml"/><Relationship Id="rId7" Type="http://schemas.openxmlformats.org/officeDocument/2006/relationships/chart" Target="../charts/chart74.xml"/><Relationship Id="rId8" Type="http://schemas.openxmlformats.org/officeDocument/2006/relationships/chart" Target="../charts/chart75.xml"/><Relationship Id="rId9" Type="http://schemas.openxmlformats.org/officeDocument/2006/relationships/chart" Target="../charts/chart76.xml"/><Relationship Id="rId10" Type="http://schemas.openxmlformats.org/officeDocument/2006/relationships/chart" Target="../charts/chart77.xml"/><Relationship Id="rId11" Type="http://schemas.openxmlformats.org/officeDocument/2006/relationships/chart" Target="../charts/chart78.xml"/><Relationship Id="rId12" Type="http://schemas.openxmlformats.org/officeDocument/2006/relationships/chart" Target="../charts/chart79.xml"/><Relationship Id="rId13" Type="http://schemas.openxmlformats.org/officeDocument/2006/relationships/chart" Target="../charts/chart80.xml"/><Relationship Id="rId14" Type="http://schemas.openxmlformats.org/officeDocument/2006/relationships/chart" Target="../charts/chart81.xml"/><Relationship Id="rId15" Type="http://schemas.openxmlformats.org/officeDocument/2006/relationships/chart" Target="../charts/chart82.xml"/><Relationship Id="rId16" Type="http://schemas.openxmlformats.org/officeDocument/2006/relationships/chart" Target="../charts/chart83.xml"/><Relationship Id="rId17" Type="http://schemas.openxmlformats.org/officeDocument/2006/relationships/chart" Target="../charts/chart84.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5.xml"/><Relationship Id="rId7" Type="http://schemas.openxmlformats.org/officeDocument/2006/relationships/chart" Target="../charts/chart86.xml"/><Relationship Id="rId8" Type="http://schemas.openxmlformats.org/officeDocument/2006/relationships/chart" Target="../charts/chart87.xml"/><Relationship Id="rId9" Type="http://schemas.openxmlformats.org/officeDocument/2006/relationships/chart" Target="../charts/chart88.xml"/><Relationship Id="rId10" Type="http://schemas.openxmlformats.org/officeDocument/2006/relationships/chart" Target="../charts/chart89.xml"/><Relationship Id="rId11" Type="http://schemas.openxmlformats.org/officeDocument/2006/relationships/chart" Target="../charts/chart90.xml"/><Relationship Id="rId12" Type="http://schemas.openxmlformats.org/officeDocument/2006/relationships/chart" Target="../charts/chart91.xml"/><Relationship Id="rId13" Type="http://schemas.openxmlformats.org/officeDocument/2006/relationships/chart" Target="../charts/chart92.xml"/><Relationship Id="rId14" Type="http://schemas.openxmlformats.org/officeDocument/2006/relationships/chart" Target="../charts/chart93.xml"/><Relationship Id="rId15" Type="http://schemas.openxmlformats.org/officeDocument/2006/relationships/chart" Target="../charts/chart94.xml"/><Relationship Id="rId16" Type="http://schemas.openxmlformats.org/officeDocument/2006/relationships/chart" Target="../charts/chart95.xml"/><Relationship Id="rId17" Type="http://schemas.openxmlformats.org/officeDocument/2006/relationships/chart" Target="../charts/chart96.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7.xml"/><Relationship Id="rId7" Type="http://schemas.openxmlformats.org/officeDocument/2006/relationships/chart" Target="../charts/chart98.xml"/><Relationship Id="rId8" Type="http://schemas.openxmlformats.org/officeDocument/2006/relationships/chart" Target="../charts/chart99.xml"/><Relationship Id="rId9" Type="http://schemas.openxmlformats.org/officeDocument/2006/relationships/chart" Target="../charts/chart100.xml"/><Relationship Id="rId10" Type="http://schemas.openxmlformats.org/officeDocument/2006/relationships/chart" Target="../charts/chart101.xml"/><Relationship Id="rId11" Type="http://schemas.openxmlformats.org/officeDocument/2006/relationships/chart" Target="../charts/chart102.xml"/><Relationship Id="rId12" Type="http://schemas.openxmlformats.org/officeDocument/2006/relationships/chart" Target="../charts/chart103.xml"/><Relationship Id="rId13" Type="http://schemas.openxmlformats.org/officeDocument/2006/relationships/chart" Target="../charts/chart104.xml"/><Relationship Id="rId14" Type="http://schemas.openxmlformats.org/officeDocument/2006/relationships/chart" Target="../charts/chart105.xml"/><Relationship Id="rId15" Type="http://schemas.openxmlformats.org/officeDocument/2006/relationships/chart" Target="../charts/chart106.xml"/><Relationship Id="rId16" Type="http://schemas.openxmlformats.org/officeDocument/2006/relationships/chart" Target="../charts/chart107.xml"/><Relationship Id="rId17" Type="http://schemas.openxmlformats.org/officeDocument/2006/relationships/chart" Target="../charts/chart10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3"/>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9575">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29575">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29575">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29575">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29575">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29575">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29575">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Aperitif | Carrefour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9961489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3"/>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9575">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29575">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29575">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29575">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29575">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29575">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29575">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Frais A Tartiner | Carrefour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75767215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3"/>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9575">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29575">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29575">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29575">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29575">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29575">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29575">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Frais A Tartiner | Carrefour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4230867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3"/>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9575">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29575">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29575">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29575">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29575">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29575">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29575">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Frais A Tartiner | Intermarche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88190207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3"/>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9575">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29575">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29575">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29575">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29575">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29575">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29575">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Frais A Tartiner | Intermarche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94262580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3"/>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9575">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29575">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29575">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29575">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29575">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29575">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29575">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Salade | Carrefour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2182585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3"/>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9575">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29575">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29575">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29575">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29575">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29575">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29575">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Salade | Intermarche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9890406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3"/>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9575">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29575">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29575">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29575">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29575">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29575">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29575">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Total Fromage | Carrefour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414897398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3"/>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9575">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29575">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29575">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29575">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29575">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29575">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29575">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Total Fromage | Carrefour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37375505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3"/>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9575">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29575">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29575">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29575">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29575">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29575">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29575">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Total Fromage | Carrefour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28591579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3"/>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9575">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29575">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29575">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29575">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29575">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29575">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29575">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Total Fromage | Intermarche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32904424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3"/>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9575">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29575">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29575">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29575">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29575">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29575">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29575">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Aperitif | Intermarche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90567414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3"/>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9575">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29575">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29575">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29575">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29575">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29575">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29575">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Total Fromage | Intermarche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76689737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3"/>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9575">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29575">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29575">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29575">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29575">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29575">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29575">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Total Fromage | Intermarche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25621317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3"/>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9575">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29575">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29575">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29575">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29575">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29575">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29575">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Soft Cheese | Carrefour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06390486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3"/>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9575">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29575">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29575">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29575">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29575">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29575">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29575">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Soft Cheese | Carrefour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12433740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3"/>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9575">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29575">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29575">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29575">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29575">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29575">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29575">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Soft Cheese | Carrefour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69233109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3"/>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9575">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29575">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29575">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29575">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29575">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29575">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29575">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Soft Cheese | Intermarche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415135498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3"/>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9575">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29575">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29575">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29575">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29575">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29575">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29575">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Soft Cheese | Intermarche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76163924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3"/>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9575">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29575">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29575">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29575">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29575">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29575">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29575">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Soft Cheese | Intermarche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47430195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3"/>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9575">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29575">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29575">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29575">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29575">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29575">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29575">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Ingredient A Chaud | Intermarche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58795797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3"/>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9575">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29575">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29575">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29575">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29575">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29575">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29575">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Ingredient A Chaud | Intermarche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14100699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3"/>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9575">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29575">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29575">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29575">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29575">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29575">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29575">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Enfant | Carrefour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01806809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3"/>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9575">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29575">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29575">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29575">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29575">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29575">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29575">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Enfant | Carrefour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46104759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3"/>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9575">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29575">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29575">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29575">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29575">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29575">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29575">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Enfant | Intermarche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15136873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3"/>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9575">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29575">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29575">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29575">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29575">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29575">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29575">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Enfant | Intermarche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42988040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3"/>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9575">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29575">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29575">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29575">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29575">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29575">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29575">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Size Bracket | By Frais A Tartiner | Carrefour | P3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8/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42509180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502A1C8-4964-4CAE-93D2-4FFA7871C136}">
  <ds:schemaRefs>
    <ds:schemaRef ds:uri="http://schemas.microsoft.com/sharepoint/v3/contenttype/forms"/>
  </ds:schemaRefs>
</ds:datastoreItem>
</file>

<file path=customXml/itemProps2.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39</TotalTime>
  <Words>3105</Words>
  <Application>Microsoft Office PowerPoint</Application>
  <PresentationFormat>On-screen Show (16:9)</PresentationFormat>
  <Paragraphs>1161</Paragraphs>
  <Slides>27</Slides>
  <Notes>27</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27</vt:i4>
      </vt:variant>
    </vt:vector>
  </HeadingPairs>
  <TitlesOfParts>
    <vt:vector size="38" baseType="lpstr">
      <vt:lpstr>Aptos</vt:lpstr>
      <vt:lpstr>Arial</vt:lpstr>
      <vt:lpstr>Calibri</vt:lpstr>
      <vt:lpstr>Nexa</vt:lpstr>
      <vt:lpstr>Nexa Bold</vt:lpstr>
      <vt:lpstr>Nexa Bold (Headings)</vt:lpstr>
      <vt:lpstr>Nexa Book</vt:lpstr>
      <vt:lpstr>Nexa Book Italic</vt:lpstr>
      <vt:lpstr>Open Sans</vt:lpstr>
      <vt:lpstr>1_PricingOne Light Template Oct 2024</vt:lpstr>
      <vt:lpstr>think-cell Slide</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Aleaa SALAH</cp:lastModifiedBy>
  <cp:revision>76</cp:revision>
  <dcterms:created xsi:type="dcterms:W3CDTF">2024-07-05T11:30:58Z</dcterms:created>
  <dcterms:modified xsi:type="dcterms:W3CDTF">2025-09-08T14:53: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